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2"/>
  </p:notesMasterIdLst>
  <p:handoutMasterIdLst>
    <p:handoutMasterId r:id="rId23"/>
  </p:handoutMasterIdLst>
  <p:sldIdLst>
    <p:sldId id="1063" r:id="rId6"/>
    <p:sldId id="1117" r:id="rId7"/>
    <p:sldId id="1171" r:id="rId8"/>
    <p:sldId id="1168" r:id="rId9"/>
    <p:sldId id="2076137443" r:id="rId10"/>
    <p:sldId id="261" r:id="rId11"/>
    <p:sldId id="1104" r:id="rId12"/>
    <p:sldId id="271" r:id="rId13"/>
    <p:sldId id="1051" r:id="rId14"/>
    <p:sldId id="2076137449" r:id="rId15"/>
    <p:sldId id="2076137450" r:id="rId16"/>
    <p:sldId id="2076137451" r:id="rId17"/>
    <p:sldId id="1068" r:id="rId18"/>
    <p:sldId id="2076137452" r:id="rId19"/>
    <p:sldId id="1126" r:id="rId20"/>
    <p:sldId id="1238" r:id="rId21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2" autoAdjust="0"/>
    <p:restoredTop sz="86016" autoAdjust="0"/>
  </p:normalViewPr>
  <p:slideViewPr>
    <p:cSldViewPr showGuides="1">
      <p:cViewPr varScale="1">
        <p:scale>
          <a:sx n="136" d="100"/>
          <a:sy n="136" d="100"/>
        </p:scale>
        <p:origin x="138" y="87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teri Rautaporras" userId="81ae4bc9-51ec-4b09-af2d-f08f9486593f" providerId="ADAL" clId="{B53143DA-4E82-4934-AF6D-B66CEDDD54E8}"/>
    <pc:docChg chg="custSel modSld">
      <pc:chgData name="Petteri Rautaporras" userId="81ae4bc9-51ec-4b09-af2d-f08f9486593f" providerId="ADAL" clId="{B53143DA-4E82-4934-AF6D-B66CEDDD54E8}" dt="2021-08-04T05:39:54.701" v="4" actId="27636"/>
      <pc:docMkLst>
        <pc:docMk/>
      </pc:docMkLst>
      <pc:sldChg chg="modSp mod">
        <pc:chgData name="Petteri Rautaporras" userId="81ae4bc9-51ec-4b09-af2d-f08f9486593f" providerId="ADAL" clId="{B53143DA-4E82-4934-AF6D-B66CEDDD54E8}" dt="2021-08-04T05:39:54.532" v="0" actId="27636"/>
        <pc:sldMkLst>
          <pc:docMk/>
          <pc:sldMk cId="3607371377" sldId="1063"/>
        </pc:sldMkLst>
        <pc:spChg chg="mod">
          <ac:chgData name="Petteri Rautaporras" userId="81ae4bc9-51ec-4b09-af2d-f08f9486593f" providerId="ADAL" clId="{B53143DA-4E82-4934-AF6D-B66CEDDD54E8}" dt="2021-08-04T05:39:54.532" v="0" actId="27636"/>
          <ac:spMkLst>
            <pc:docMk/>
            <pc:sldMk cId="3607371377" sldId="1063"/>
            <ac:spMk id="2" creationId="{50FC3B40-AC30-46E2-BCAD-E388935D70C2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79" v="3" actId="27636"/>
        <pc:sldMkLst>
          <pc:docMk/>
          <pc:sldMk cId="1166976421" sldId="1068"/>
        </pc:sldMkLst>
        <pc:spChg chg="mod">
          <ac:chgData name="Petteri Rautaporras" userId="81ae4bc9-51ec-4b09-af2d-f08f9486593f" providerId="ADAL" clId="{B53143DA-4E82-4934-AF6D-B66CEDDD54E8}" dt="2021-08-04T05:39:54.679" v="3" actId="27636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701" v="4" actId="27636"/>
        <pc:sldMkLst>
          <pc:docMk/>
          <pc:sldMk cId="929075840" sldId="1075"/>
        </pc:sldMkLst>
        <pc:spChg chg="mod">
          <ac:chgData name="Petteri Rautaporras" userId="81ae4bc9-51ec-4b09-af2d-f08f9486593f" providerId="ADAL" clId="{B53143DA-4E82-4934-AF6D-B66CEDDD54E8}" dt="2021-08-04T05:39:54.701" v="4" actId="27636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32" v="1" actId="27636"/>
        <pc:sldMkLst>
          <pc:docMk/>
          <pc:sldMk cId="3588709971" sldId="1118"/>
        </pc:sldMkLst>
        <pc:spChg chg="mod">
          <ac:chgData name="Petteri Rautaporras" userId="81ae4bc9-51ec-4b09-af2d-f08f9486593f" providerId="ADAL" clId="{B53143DA-4E82-4934-AF6D-B66CEDDD54E8}" dt="2021-08-04T05:39:54.632" v="1" actId="27636"/>
          <ac:spMkLst>
            <pc:docMk/>
            <pc:sldMk cId="3588709971" sldId="1118"/>
            <ac:spMk id="10" creationId="{791C78E0-00E0-43A3-BD0C-8AECB56CA32F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47" v="2" actId="27636"/>
        <pc:sldMkLst>
          <pc:docMk/>
          <pc:sldMk cId="2829966302" sldId="2076137438"/>
        </pc:sldMkLst>
        <pc:spChg chg="mod">
          <ac:chgData name="Petteri Rautaporras" userId="81ae4bc9-51ec-4b09-af2d-f08f9486593f" providerId="ADAL" clId="{B53143DA-4E82-4934-AF6D-B66CEDDD54E8}" dt="2021-08-04T05:39:54.647" v="2" actId="27636"/>
          <ac:spMkLst>
            <pc:docMk/>
            <pc:sldMk cId="2829966302" sldId="2076137438"/>
            <ac:spMk id="2" creationId="{00000000-0000-0000-0000-000000000000}"/>
          </ac:spMkLst>
        </pc:spChg>
      </pc:sldChg>
    </pc:docChg>
  </pc:docChgLst>
  <pc:docChgLst>
    <pc:chgData name="Rautaporras Petteri" userId="81ae4bc9-51ec-4b09-af2d-f08f9486593f" providerId="ADAL" clId="{F55573B4-CE7C-470A-91E6-14298E08AC21}"/>
    <pc:docChg chg="undo custSel addSld delSld modSld">
      <pc:chgData name="Rautaporras Petteri" userId="81ae4bc9-51ec-4b09-af2d-f08f9486593f" providerId="ADAL" clId="{F55573B4-CE7C-470A-91E6-14298E08AC21}" dt="2022-02-02T09:32:13.726" v="2334" actId="20577"/>
      <pc:docMkLst>
        <pc:docMk/>
      </pc:docMkLst>
      <pc:sldChg chg="del">
        <pc:chgData name="Rautaporras Petteri" userId="81ae4bc9-51ec-4b09-af2d-f08f9486593f" providerId="ADAL" clId="{F55573B4-CE7C-470A-91E6-14298E08AC21}" dt="2022-02-01T10:42:02.921" v="923" actId="47"/>
        <pc:sldMkLst>
          <pc:docMk/>
          <pc:sldMk cId="3881790117" sldId="256"/>
        </pc:sldMkLst>
      </pc:sldChg>
      <pc:sldChg chg="modSp">
        <pc:chgData name="Rautaporras Petteri" userId="81ae4bc9-51ec-4b09-af2d-f08f9486593f" providerId="ADAL" clId="{F55573B4-CE7C-470A-91E6-14298E08AC21}" dt="2022-02-02T07:33:00.494" v="2081"/>
        <pc:sldMkLst>
          <pc:docMk/>
          <pc:sldMk cId="912479398" sldId="261"/>
        </pc:sldMkLst>
        <pc:graphicFrameChg chg="mod">
          <ac:chgData name="Rautaporras Petteri" userId="81ae4bc9-51ec-4b09-af2d-f08f9486593f" providerId="ADAL" clId="{F55573B4-CE7C-470A-91E6-14298E08AC21}" dt="2022-02-02T07:33:00.494" v="2081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3:01.394" v="2082"/>
        <pc:sldMkLst>
          <pc:docMk/>
          <pc:sldMk cId="2114849149" sldId="271"/>
        </pc:sldMkLst>
        <pc:graphicFrameChg chg="mod">
          <ac:chgData name="Rautaporras Petteri" userId="81ae4bc9-51ec-4b09-af2d-f08f9486593f" providerId="ADAL" clId="{F55573B4-CE7C-470A-91E6-14298E08AC21}" dt="2022-02-02T07:33:01.394" v="2082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81ae4bc9-51ec-4b09-af2d-f08f9486593f" providerId="ADAL" clId="{F55573B4-CE7C-470A-91E6-14298E08AC21}" dt="2022-02-01T10:39:42.608" v="913" actId="4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F55573B4-CE7C-470A-91E6-14298E08AC21}" dt="2022-02-01T10:39:42.584" v="912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">
        <pc:chgData name="Rautaporras Petteri" userId="81ae4bc9-51ec-4b09-af2d-f08f9486593f" providerId="ADAL" clId="{F55573B4-CE7C-470A-91E6-14298E08AC21}" dt="2022-02-01T10:40:07.184" v="914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F55573B4-CE7C-470A-91E6-14298E08AC21}" dt="2022-02-01T08:13:22.445" v="6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F55573B4-CE7C-470A-91E6-14298E08AC21}" dt="2022-02-01T08:13:22.445" v="6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81ae4bc9-51ec-4b09-af2d-f08f9486593f" providerId="ADAL" clId="{F55573B4-CE7C-470A-91E6-14298E08AC21}" dt="2022-02-01T10:40:31.401" v="917" actId="47"/>
        <pc:sldMkLst>
          <pc:docMk/>
          <pc:sldMk cId="3461487886" sldId="1065"/>
        </pc:sldMkLst>
      </pc:sldChg>
      <pc:sldChg chg="add">
        <pc:chgData name="Rautaporras Petteri" userId="81ae4bc9-51ec-4b09-af2d-f08f9486593f" providerId="ADAL" clId="{F55573B4-CE7C-470A-91E6-14298E08AC21}" dt="2022-02-01T10:41:45.356" v="920"/>
        <pc:sldMkLst>
          <pc:docMk/>
          <pc:sldMk cId="800762062" sldId="1068"/>
        </pc:sldMkLst>
      </pc:sldChg>
      <pc:sldChg chg="modSp mod">
        <pc:chgData name="Rautaporras Petteri" userId="81ae4bc9-51ec-4b09-af2d-f08f9486593f" providerId="ADAL" clId="{F55573B4-CE7C-470A-91E6-14298E08AC21}" dt="2022-02-01T11:14:38.044" v="1505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F55573B4-CE7C-470A-91E6-14298E08AC21}" dt="2022-02-01T11:14:38.044" v="1505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addSp delSp modSp mod">
        <pc:chgData name="Rautaporras Petteri" userId="81ae4bc9-51ec-4b09-af2d-f08f9486593f" providerId="ADAL" clId="{F55573B4-CE7C-470A-91E6-14298E08AC21}" dt="2022-02-02T08:34:31.644" v="2176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F55573B4-CE7C-470A-91E6-14298E08AC21}" dt="2022-02-02T08:34:31.644" v="2176" actId="20577"/>
          <ac:spMkLst>
            <pc:docMk/>
            <pc:sldMk cId="2272776827" sldId="1117"/>
            <ac:spMk id="2" creationId="{25165083-82DB-4E44-8B62-0436D46FE3CA}"/>
          </ac:spMkLst>
        </pc:spChg>
        <pc:spChg chg="add del">
          <ac:chgData name="Rautaporras Petteri" userId="81ae4bc9-51ec-4b09-af2d-f08f9486593f" providerId="ADAL" clId="{F55573B4-CE7C-470A-91E6-14298E08AC21}" dt="2022-02-01T10:33:15.547" v="905" actId="22"/>
          <ac:spMkLst>
            <pc:docMk/>
            <pc:sldMk cId="2272776827" sldId="1117"/>
            <ac:spMk id="7" creationId="{11F6FE05-A1D6-41F8-86D3-4095037ECDCD}"/>
          </ac:spMkLst>
        </pc:spChg>
      </pc:sldChg>
      <pc:sldChg chg="modSp mod">
        <pc:chgData name="Rautaporras Petteri" userId="81ae4bc9-51ec-4b09-af2d-f08f9486593f" providerId="ADAL" clId="{F55573B4-CE7C-470A-91E6-14298E08AC21}" dt="2022-02-02T09:32:13.726" v="2334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F55573B4-CE7C-470A-91E6-14298E08AC21}" dt="2022-02-02T09:32:13.726" v="233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modSp add">
        <pc:chgData name="Rautaporras Petteri" userId="81ae4bc9-51ec-4b09-af2d-f08f9486593f" providerId="ADAL" clId="{F55573B4-CE7C-470A-91E6-14298E08AC21}" dt="2022-02-02T07:32:59.218" v="2079"/>
        <pc:sldMkLst>
          <pc:docMk/>
          <pc:sldMk cId="3526943401" sldId="1168"/>
        </pc:sldMkLst>
        <pc:graphicFrameChg chg="mod">
          <ac:chgData name="Rautaporras Petteri" userId="81ae4bc9-51ec-4b09-af2d-f08f9486593f" providerId="ADAL" clId="{F55573B4-CE7C-470A-91E6-14298E08AC21}" dt="2022-02-02T07:32:59.218" v="2079"/>
          <ac:graphicFrameMkLst>
            <pc:docMk/>
            <pc:sldMk cId="3526943401" sldId="1168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2:58.772" v="2078"/>
        <pc:sldMkLst>
          <pc:docMk/>
          <pc:sldMk cId="2095577217" sldId="1171"/>
        </pc:sldMkLst>
        <pc:graphicFrameChg chg="mod">
          <ac:chgData name="Rautaporras Petteri" userId="81ae4bc9-51ec-4b09-af2d-f08f9486593f" providerId="ADAL" clId="{F55573B4-CE7C-470A-91E6-14298E08AC21}" dt="2022-02-02T07:32:58.772" v="2078"/>
          <ac:graphicFrameMkLst>
            <pc:docMk/>
            <pc:sldMk cId="2095577217" sldId="1171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3:01.901" v="2083"/>
        <pc:sldMkLst>
          <pc:docMk/>
          <pc:sldMk cId="1331298976" sldId="1238"/>
        </pc:sldMkLst>
        <pc:graphicFrameChg chg="mod">
          <ac:chgData name="Rautaporras Petteri" userId="81ae4bc9-51ec-4b09-af2d-f08f9486593f" providerId="ADAL" clId="{F55573B4-CE7C-470A-91E6-14298E08AC21}" dt="2022-02-02T07:33:01.901" v="2083"/>
          <ac:graphicFrameMkLst>
            <pc:docMk/>
            <pc:sldMk cId="1331298976" sldId="1238"/>
            <ac:graphicFrameMk id="12" creationId="{73BA24CA-1C45-4A70-B135-FF31C36C423F}"/>
          </ac:graphicFrameMkLst>
        </pc:graphicFrameChg>
      </pc:sldChg>
      <pc:sldChg chg="del">
        <pc:chgData name="Rautaporras Petteri" userId="81ae4bc9-51ec-4b09-af2d-f08f9486593f" providerId="ADAL" clId="{F55573B4-CE7C-470A-91E6-14298E08AC21}" dt="2022-02-01T10:40:32.338" v="918" actId="4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F55573B4-CE7C-470A-91E6-14298E08AC21}" dt="2022-02-01T10:40:33.213" v="919" actId="47"/>
        <pc:sldMkLst>
          <pc:docMk/>
          <pc:sldMk cId="1445491431" sldId="2076137439"/>
        </pc:sldMkLst>
      </pc:sldChg>
      <pc:sldChg chg="del">
        <pc:chgData name="Rautaporras Petteri" userId="81ae4bc9-51ec-4b09-af2d-f08f9486593f" providerId="ADAL" clId="{F55573B4-CE7C-470A-91E6-14298E08AC21}" dt="2022-02-01T10:33:56.590" v="907" actId="47"/>
        <pc:sldMkLst>
          <pc:docMk/>
          <pc:sldMk cId="2670507341" sldId="2076137442"/>
        </pc:sldMkLst>
      </pc:sldChg>
      <pc:sldChg chg="modSp mod">
        <pc:chgData name="Rautaporras Petteri" userId="81ae4bc9-51ec-4b09-af2d-f08f9486593f" providerId="ADAL" clId="{F55573B4-CE7C-470A-91E6-14298E08AC21}" dt="2022-02-02T07:32:59.790" v="2080"/>
        <pc:sldMkLst>
          <pc:docMk/>
          <pc:sldMk cId="3383361648" sldId="2076137443"/>
        </pc:sldMkLst>
        <pc:spChg chg="mod">
          <ac:chgData name="Rautaporras Petteri" userId="81ae4bc9-51ec-4b09-af2d-f08f9486593f" providerId="ADAL" clId="{F55573B4-CE7C-470A-91E6-14298E08AC21}" dt="2022-02-02T07:22:33.321" v="2077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F55573B4-CE7C-470A-91E6-14298E08AC21}" dt="2022-02-02T07:32:59.790" v="2080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del">
        <pc:chgData name="Rautaporras Petteri" userId="81ae4bc9-51ec-4b09-af2d-f08f9486593f" providerId="ADAL" clId="{F55573B4-CE7C-470A-91E6-14298E08AC21}" dt="2022-02-01T10:41:47.081" v="921" actId="47"/>
        <pc:sldMkLst>
          <pc:docMk/>
          <pc:sldMk cId="1164271516" sldId="2076137448"/>
        </pc:sldMkLst>
      </pc:sldChg>
      <pc:sldChg chg="del">
        <pc:chgData name="Rautaporras Petteri" userId="81ae4bc9-51ec-4b09-af2d-f08f9486593f" providerId="ADAL" clId="{F55573B4-CE7C-470A-91E6-14298E08AC21}" dt="2022-02-01T10:40:08.600" v="915" actId="47"/>
        <pc:sldMkLst>
          <pc:docMk/>
          <pc:sldMk cId="1196926229" sldId="2076137449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3479841645" sldId="2076137449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572688794" sldId="2076137450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770752808" sldId="2076137451"/>
        </pc:sldMkLst>
      </pc:sldChg>
      <pc:sldChg chg="modSp add mod">
        <pc:chgData name="Rautaporras Petteri" userId="81ae4bc9-51ec-4b09-af2d-f08f9486593f" providerId="ADAL" clId="{F55573B4-CE7C-470A-91E6-14298E08AC21}" dt="2022-02-01T10:42:36.584" v="1008" actId="20577"/>
        <pc:sldMkLst>
          <pc:docMk/>
          <pc:sldMk cId="3230635757" sldId="2076137452"/>
        </pc:sldMkLst>
        <pc:spChg chg="mod">
          <ac:chgData name="Rautaporras Petteri" userId="81ae4bc9-51ec-4b09-af2d-f08f9486593f" providerId="ADAL" clId="{F55573B4-CE7C-470A-91E6-14298E08AC21}" dt="2022-02-01T10:42:36.584" v="1008" actId="20577"/>
          <ac:spMkLst>
            <pc:docMk/>
            <pc:sldMk cId="3230635757" sldId="2076137452"/>
            <ac:spMk id="2" creationId="{C486607F-08B3-4B40-9AF2-6A8647D9937B}"/>
          </ac:spMkLst>
        </pc:spChg>
      </pc:sldChg>
    </pc:docChg>
  </pc:docChgLst>
  <pc:docChgLst>
    <pc:chgData name="Rautaporras Petteri" userId="81ae4bc9-51ec-4b09-af2d-f08f9486593f" providerId="ADAL" clId="{B2F26A4F-CEC4-4681-862C-9D24993E1E53}"/>
    <pc:docChg chg="undo custSel addSld delSld modSld">
      <pc:chgData name="Rautaporras Petteri" userId="81ae4bc9-51ec-4b09-af2d-f08f9486593f" providerId="ADAL" clId="{B2F26A4F-CEC4-4681-862C-9D24993E1E53}" dt="2021-11-03T19:59:19.525" v="1952"/>
      <pc:docMkLst>
        <pc:docMk/>
      </pc:docMkLst>
      <pc:sldChg chg="add">
        <pc:chgData name="Rautaporras Petteri" userId="81ae4bc9-51ec-4b09-af2d-f08f9486593f" providerId="ADAL" clId="{B2F26A4F-CEC4-4681-862C-9D24993E1E53}" dt="2021-11-01T10:44:27.985" v="160"/>
        <pc:sldMkLst>
          <pc:docMk/>
          <pc:sldMk cId="3881790117" sldId="256"/>
        </pc:sldMkLst>
      </pc:sldChg>
      <pc:sldChg chg="del">
        <pc:chgData name="Rautaporras Petteri" userId="81ae4bc9-51ec-4b09-af2d-f08f9486593f" providerId="ADAL" clId="{B2F26A4F-CEC4-4681-862C-9D24993E1E53}" dt="2021-11-01T10:19:01.160" v="6" actId="47"/>
        <pc:sldMkLst>
          <pc:docMk/>
          <pc:sldMk cId="3984870155" sldId="256"/>
        </pc:sldMkLst>
      </pc:sldChg>
      <pc:sldChg chg="modSp add mod">
        <pc:chgData name="Rautaporras Petteri" userId="81ae4bc9-51ec-4b09-af2d-f08f9486593f" providerId="ADAL" clId="{B2F26A4F-CEC4-4681-862C-9D24993E1E53}" dt="2021-11-02T09:36:41.508" v="1756"/>
        <pc:sldMkLst>
          <pc:docMk/>
          <pc:sldMk cId="912479398" sldId="261"/>
        </pc:sldMkLst>
        <pc:spChg chg="mod">
          <ac:chgData name="Rautaporras Petteri" userId="81ae4bc9-51ec-4b09-af2d-f08f9486593f" providerId="ADAL" clId="{B2F26A4F-CEC4-4681-862C-9D24993E1E53}" dt="2021-11-01T19:00:24.751" v="1702"/>
          <ac:spMkLst>
            <pc:docMk/>
            <pc:sldMk cId="912479398" sldId="261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2T09:36:41.508" v="1756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">
        <pc:chgData name="Rautaporras Petteri" userId="81ae4bc9-51ec-4b09-af2d-f08f9486593f" providerId="ADAL" clId="{B2F26A4F-CEC4-4681-862C-9D24993E1E53}" dt="2021-11-02T09:36:47.222" v="175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B2F26A4F-CEC4-4681-862C-9D24993E1E53}" dt="2021-11-02T09:36:47.222" v="175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 del">
        <pc:chgData name="Rautaporras Petteri" userId="81ae4bc9-51ec-4b09-af2d-f08f9486593f" providerId="ADAL" clId="{B2F26A4F-CEC4-4681-862C-9D24993E1E53}" dt="2021-11-01T18:27:56.254" v="1692" actId="47"/>
        <pc:sldMkLst>
          <pc:docMk/>
          <pc:sldMk cId="1883353922" sldId="1049"/>
        </pc:sldMkLst>
      </pc:sldChg>
      <pc:sldChg chg="del">
        <pc:chgData name="Rautaporras Petteri" userId="81ae4bc9-51ec-4b09-af2d-f08f9486593f" providerId="ADAL" clId="{B2F26A4F-CEC4-4681-862C-9D24993E1E53}" dt="2021-11-01T18:28:02.601" v="1694" actId="47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B2F26A4F-CEC4-4681-862C-9D24993E1E53}" dt="2021-11-03T11:03:47.806" v="1951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B2F26A4F-CEC4-4681-862C-9D24993E1E53}" dt="2021-11-03T11:03:47.806" v="1951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81ae4bc9-51ec-4b09-af2d-f08f9486593f" providerId="ADAL" clId="{B2F26A4F-CEC4-4681-862C-9D24993E1E53}" dt="2021-11-01T18:28:10.790" v="1695"/>
        <pc:sldMkLst>
          <pc:docMk/>
          <pc:sldMk cId="3461487886" sldId="1065"/>
        </pc:sldMkLst>
      </pc:sldChg>
      <pc:sldChg chg="del">
        <pc:chgData name="Rautaporras Petteri" userId="81ae4bc9-51ec-4b09-af2d-f08f9486593f" providerId="ADAL" clId="{B2F26A4F-CEC4-4681-862C-9D24993E1E53}" dt="2021-11-01T10:34:21.952" v="111" actId="47"/>
        <pc:sldMkLst>
          <pc:docMk/>
          <pc:sldMk cId="1166976421" sldId="1068"/>
        </pc:sldMkLst>
      </pc:sldChg>
      <pc:sldChg chg="modSp mod">
        <pc:chgData name="Rautaporras Petteri" userId="81ae4bc9-51ec-4b09-af2d-f08f9486593f" providerId="ADAL" clId="{B2F26A4F-CEC4-4681-862C-9D24993E1E53}" dt="2021-11-03T06:55:08.164" v="1778" actId="14100"/>
        <pc:sldMkLst>
          <pc:docMk/>
          <pc:sldMk cId="929075840" sldId="1075"/>
        </pc:sldMkLst>
        <pc:spChg chg="mod">
          <ac:chgData name="Rautaporras Petteri" userId="81ae4bc9-51ec-4b09-af2d-f08f9486593f" providerId="ADAL" clId="{B2F26A4F-CEC4-4681-862C-9D24993E1E53}" dt="2021-11-03T06:55:08.164" v="1778" actId="14100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81ae4bc9-51ec-4b09-af2d-f08f9486593f" providerId="ADAL" clId="{B2F26A4F-CEC4-4681-862C-9D24993E1E53}" dt="2021-11-03T06:23:30.839" v="1776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B2F26A4F-CEC4-4681-862C-9D24993E1E53}" dt="2021-11-03T06:23:30.839" v="1776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B2F26A4F-CEC4-4681-862C-9D24993E1E53}" dt="2021-11-02T08:13:19.218" v="1712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B2F26A4F-CEC4-4681-862C-9D24993E1E53}" dt="2021-11-02T08:13:19.218" v="171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del">
        <pc:chgData name="Rautaporras Petteri" userId="81ae4bc9-51ec-4b09-af2d-f08f9486593f" providerId="ADAL" clId="{B2F26A4F-CEC4-4681-862C-9D24993E1E53}" dt="2021-11-01T10:19:07.736" v="8" actId="47"/>
        <pc:sldMkLst>
          <pc:docMk/>
          <pc:sldMk cId="3588709971" sldId="1118"/>
        </pc:sldMkLst>
      </pc:sldChg>
      <pc:sldChg chg="modSp mod">
        <pc:chgData name="Rautaporras Petteri" userId="81ae4bc9-51ec-4b09-af2d-f08f9486593f" providerId="ADAL" clId="{B2F26A4F-CEC4-4681-862C-9D24993E1E53}" dt="2021-11-03T07:21:07.521" v="1950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B2F26A4F-CEC4-4681-862C-9D24993E1E53}" dt="2021-11-03T07:21:07.521" v="195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">
        <pc:chgData name="Rautaporras Petteri" userId="81ae4bc9-51ec-4b09-af2d-f08f9486593f" providerId="ADAL" clId="{B2F26A4F-CEC4-4681-862C-9D24993E1E53}" dt="2021-11-01T18:28:24.696" v="169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B2F26A4F-CEC4-4681-862C-9D24993E1E53}" dt="2021-11-01T18:28:14.956" v="1696" actId="47"/>
        <pc:sldMkLst>
          <pc:docMk/>
          <pc:sldMk cId="3164595974" sldId="2076137437"/>
        </pc:sldMkLst>
      </pc:sldChg>
      <pc:sldChg chg="del">
        <pc:chgData name="Rautaporras Petteri" userId="81ae4bc9-51ec-4b09-af2d-f08f9486593f" providerId="ADAL" clId="{B2F26A4F-CEC4-4681-862C-9D24993E1E53}" dt="2021-11-01T18:28:27.146" v="1698" actId="47"/>
        <pc:sldMkLst>
          <pc:docMk/>
          <pc:sldMk cId="2829966302" sldId="2076137438"/>
        </pc:sldMkLst>
      </pc:sldChg>
      <pc:sldChg chg="add">
        <pc:chgData name="Rautaporras Petteri" userId="81ae4bc9-51ec-4b09-af2d-f08f9486593f" providerId="ADAL" clId="{B2F26A4F-CEC4-4681-862C-9D24993E1E53}" dt="2021-11-01T10:18:59.939" v="5"/>
        <pc:sldMkLst>
          <pc:docMk/>
          <pc:sldMk cId="2670507341" sldId="2076137442"/>
        </pc:sldMkLst>
      </pc:sldChg>
      <pc:sldChg chg="modSp add mod">
        <pc:chgData name="Rautaporras Petteri" userId="81ae4bc9-51ec-4b09-af2d-f08f9486593f" providerId="ADAL" clId="{B2F26A4F-CEC4-4681-862C-9D24993E1E53}" dt="2021-11-02T09:36:40.318" v="1755"/>
        <pc:sldMkLst>
          <pc:docMk/>
          <pc:sldMk cId="3383361648" sldId="2076137443"/>
        </pc:sldMkLst>
        <pc:spChg chg="mod">
          <ac:chgData name="Rautaporras Petteri" userId="81ae4bc9-51ec-4b09-af2d-f08f9486593f" providerId="ADAL" clId="{B2F26A4F-CEC4-4681-862C-9D24993E1E53}" dt="2021-11-01T13:21:51.136" v="1680" actId="20577"/>
          <ac:spMkLst>
            <pc:docMk/>
            <pc:sldMk cId="3383361648" sldId="2076137443"/>
            <ac:spMk id="7" creationId="{3733E520-6A08-4E9C-973B-B665E50E1854}"/>
          </ac:spMkLst>
        </pc:spChg>
        <pc:spChg chg="mod">
          <ac:chgData name="Rautaporras Petteri" userId="81ae4bc9-51ec-4b09-af2d-f08f9486593f" providerId="ADAL" clId="{B2F26A4F-CEC4-4681-862C-9D24993E1E53}" dt="2021-11-01T18:59:32.791" v="1701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B2F26A4F-CEC4-4681-862C-9D24993E1E53}" dt="2021-11-02T09:36:40.318" v="1755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modSp new mod">
        <pc:chgData name="Rautaporras Petteri" userId="81ae4bc9-51ec-4b09-af2d-f08f9486593f" providerId="ADAL" clId="{B2F26A4F-CEC4-4681-862C-9D24993E1E53}" dt="2021-11-01T10:33:25.507" v="89" actId="20577"/>
        <pc:sldMkLst>
          <pc:docMk/>
          <pc:sldMk cId="3943818055" sldId="2076137444"/>
        </pc:sldMkLst>
        <pc:spChg chg="mod">
          <ac:chgData name="Rautaporras Petteri" userId="81ae4bc9-51ec-4b09-af2d-f08f9486593f" providerId="ADAL" clId="{B2F26A4F-CEC4-4681-862C-9D24993E1E53}" dt="2021-11-01T10:33:25.507" v="89" actId="20577"/>
          <ac:spMkLst>
            <pc:docMk/>
            <pc:sldMk cId="3943818055" sldId="2076137444"/>
            <ac:spMk id="2" creationId="{42D6FED0-1307-4154-B8F9-C0A6B1C735DD}"/>
          </ac:spMkLst>
        </pc:spChg>
      </pc:sldChg>
      <pc:sldChg chg="add">
        <pc:chgData name="Rautaporras Petteri" userId="81ae4bc9-51ec-4b09-af2d-f08f9486593f" providerId="ADAL" clId="{B2F26A4F-CEC4-4681-862C-9D24993E1E53}" dt="2021-11-01T10:44:52.915" v="164"/>
        <pc:sldMkLst>
          <pc:docMk/>
          <pc:sldMk cId="736890801" sldId="2076137446"/>
        </pc:sldMkLst>
      </pc:sldChg>
      <pc:sldChg chg="modSp add mod">
        <pc:chgData name="Rautaporras Petteri" userId="81ae4bc9-51ec-4b09-af2d-f08f9486593f" providerId="ADAL" clId="{B2F26A4F-CEC4-4681-862C-9D24993E1E53}" dt="2021-11-03T19:59:19.525" v="1952"/>
        <pc:sldMkLst>
          <pc:docMk/>
          <pc:sldMk cId="1164271516" sldId="2076137448"/>
        </pc:sldMkLst>
        <pc:spChg chg="mod">
          <ac:chgData name="Rautaporras Petteri" userId="81ae4bc9-51ec-4b09-af2d-f08f9486593f" providerId="ADAL" clId="{B2F26A4F-CEC4-4681-862C-9D24993E1E53}" dt="2021-11-01T10:34:48.885" v="159" actId="20577"/>
          <ac:spMkLst>
            <pc:docMk/>
            <pc:sldMk cId="1164271516" sldId="2076137448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3T19:59:19.525" v="1952"/>
          <ac:graphicFrameMkLst>
            <pc:docMk/>
            <pc:sldMk cId="1164271516" sldId="2076137448"/>
            <ac:graphicFrameMk id="9" creationId="{E0EB4AEC-EC50-4F67-BEB1-A8415E3A7B3A}"/>
          </ac:graphicFrameMkLst>
        </pc:graphicFrameChg>
      </pc:sldChg>
      <pc:sldChg chg="add">
        <pc:chgData name="Rautaporras Petteri" userId="81ae4bc9-51ec-4b09-af2d-f08f9486593f" providerId="ADAL" clId="{B2F26A4F-CEC4-4681-862C-9D24993E1E53}" dt="2021-11-01T18:28:00.745" v="1693"/>
        <pc:sldMkLst>
          <pc:docMk/>
          <pc:sldMk cId="1196926229" sldId="2076137449"/>
        </pc:sldMkLst>
      </pc:sldChg>
    </pc:docChg>
  </pc:docChgLst>
  <pc:docChgLst>
    <pc:chgData name="Rautaporras Petteri" userId="d9004aa4-7491-43fa-b04f-4f6e300df2fa" providerId="ADAL" clId="{8F242647-212A-466A-AA1E-CA9003D6AA23}"/>
    <pc:docChg chg="custSel modSld">
      <pc:chgData name="Rautaporras Petteri" userId="d9004aa4-7491-43fa-b04f-4f6e300df2fa" providerId="ADAL" clId="{8F242647-212A-466A-AA1E-CA9003D6AA23}" dt="2021-02-04T08:42:59.175" v="450" actId="27918"/>
      <pc:docMkLst>
        <pc:docMk/>
      </pc:docMkLst>
      <pc:sldChg chg="mod">
        <pc:chgData name="Rautaporras Petteri" userId="d9004aa4-7491-43fa-b04f-4f6e300df2fa" providerId="ADAL" clId="{8F242647-212A-466A-AA1E-CA9003D6AA23}" dt="2021-02-02T21:22:42.485" v="52" actId="27918"/>
        <pc:sldMkLst>
          <pc:docMk/>
          <pc:sldMk cId="3461487886" sldId="1065"/>
        </pc:sldMkLst>
      </pc:sldChg>
      <pc:sldChg chg="modSp mod">
        <pc:chgData name="Rautaporras Petteri" userId="d9004aa4-7491-43fa-b04f-4f6e300df2fa" providerId="ADAL" clId="{8F242647-212A-466A-AA1E-CA9003D6AA23}" dt="2021-02-03T07:43:33.274" v="423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8F242647-212A-466A-AA1E-CA9003D6AA23}" dt="2021-02-03T07:43:33.274" v="423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8F242647-212A-466A-AA1E-CA9003D6AA23}" dt="2021-02-03T07:43:28.482" v="422" actId="20577"/>
        <pc:sldMkLst>
          <pc:docMk/>
          <pc:sldMk cId="3128374377" sldId="1076"/>
        </pc:sldMkLst>
        <pc:spChg chg="mod">
          <ac:chgData name="Rautaporras Petteri" userId="d9004aa4-7491-43fa-b04f-4f6e300df2fa" providerId="ADAL" clId="{8F242647-212A-466A-AA1E-CA9003D6AA23}" dt="2021-02-03T07:43:28.482" v="422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8F242647-212A-466A-AA1E-CA9003D6AA23}" dt="2021-02-03T07:50:57.680" v="44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8F242647-212A-466A-AA1E-CA9003D6AA23}" dt="2021-02-03T07:50:57.680" v="44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8F242647-212A-466A-AA1E-CA9003D6AA23}" dt="2021-02-02T21:19:07.930" v="4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8F242647-212A-466A-AA1E-CA9003D6AA23}" dt="2021-02-02T21:19:07.930" v="4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">
        <pc:chgData name="Rautaporras Petteri" userId="d9004aa4-7491-43fa-b04f-4f6e300df2fa" providerId="ADAL" clId="{8F242647-212A-466A-AA1E-CA9003D6AA23}" dt="2021-02-04T08:42:59.175" v="450" actId="27918"/>
        <pc:sldMkLst>
          <pc:docMk/>
          <pc:sldMk cId="1038765052" sldId="1123"/>
        </pc:sldMkLst>
      </pc:sldChg>
      <pc:sldChg chg="modSp mod">
        <pc:chgData name="Rautaporras Petteri" userId="d9004aa4-7491-43fa-b04f-4f6e300df2fa" providerId="ADAL" clId="{8F242647-212A-466A-AA1E-CA9003D6AA23}" dt="2021-02-03T07:49:09.122" v="440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8F242647-212A-466A-AA1E-CA9003D6AA23}" dt="2021-02-03T07:49:09.122" v="44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8F242647-212A-466A-AA1E-CA9003D6AA23}" dt="2021-02-04T07:16:03.808" v="446" actId="1076"/>
        <pc:sldMkLst>
          <pc:docMk/>
          <pc:sldMk cId="1005875025" sldId="2076137431"/>
        </pc:sldMkLst>
        <pc:picChg chg="add mod">
          <ac:chgData name="Rautaporras Petteri" userId="d9004aa4-7491-43fa-b04f-4f6e300df2fa" providerId="ADAL" clId="{8F242647-212A-466A-AA1E-CA9003D6AA23}" dt="2021-02-04T07:16:03.808" v="446" actId="1076"/>
          <ac:picMkLst>
            <pc:docMk/>
            <pc:sldMk cId="1005875025" sldId="2076137431"/>
            <ac:picMk id="8" creationId="{59382AD7-337A-46FD-BF8C-31C8662EEECB}"/>
          </ac:picMkLst>
        </pc:picChg>
        <pc:picChg chg="del">
          <ac:chgData name="Rautaporras Petteri" userId="d9004aa4-7491-43fa-b04f-4f6e300df2fa" providerId="ADAL" clId="{8F242647-212A-466A-AA1E-CA9003D6AA23}" dt="2021-02-04T07:15:55.371" v="442" actId="478"/>
          <ac:picMkLst>
            <pc:docMk/>
            <pc:sldMk cId="1005875025" sldId="2076137431"/>
            <ac:picMk id="9" creationId="{58679CF2-5FFA-4479-8381-24ADAA3A2147}"/>
          </ac:picMkLst>
        </pc:picChg>
      </pc:sldChg>
    </pc:docChg>
  </pc:docChgLst>
  <pc:docChgLst>
    <pc:chgData name="Rautaporras Petteri" userId="d9004aa4-7491-43fa-b04f-4f6e300df2fa" providerId="ADAL" clId="{DE362A46-FCCA-4B04-BECA-B95882F25295}"/>
    <pc:docChg chg="undo custSel addSld delSld modSld sldOrd">
      <pc:chgData name="Rautaporras Petteri" userId="d9004aa4-7491-43fa-b04f-4f6e300df2fa" providerId="ADAL" clId="{DE362A46-FCCA-4B04-BECA-B95882F25295}" dt="2021-02-02T13:54:24.872" v="750"/>
      <pc:docMkLst>
        <pc:docMk/>
      </pc:docMkLst>
      <pc:sldChg chg="modSp del">
        <pc:chgData name="Rautaporras Petteri" userId="d9004aa4-7491-43fa-b04f-4f6e300df2fa" providerId="ADAL" clId="{DE362A46-FCCA-4B04-BECA-B95882F25295}" dt="2021-02-02T12:50:30.148" v="232" actId="47"/>
        <pc:sldMkLst>
          <pc:docMk/>
          <pc:sldMk cId="2510371092" sldId="266"/>
        </pc:sldMkLst>
        <pc:graphicFrameChg chg="mod">
          <ac:chgData name="Rautaporras Petteri" userId="d9004aa4-7491-43fa-b04f-4f6e300df2fa" providerId="ADAL" clId="{DE362A46-FCCA-4B04-BECA-B95882F25295}" dt="2021-02-02T12:46:22.062" v="125"/>
          <ac:graphicFrameMkLst>
            <pc:docMk/>
            <pc:sldMk cId="2510371092" sldId="266"/>
            <ac:graphicFrameMk id="11" creationId="{3A4DDF37-D261-416F-B789-60D7BE706FAC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6" v="268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DE362A46-FCCA-4B04-BECA-B95882F25295}" dt="2021-02-02T13:29:10.346" v="268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DE362A46-FCCA-4B04-BECA-B95882F25295}" dt="2021-02-02T12:50:38.190" v="233" actId="47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DE362A46-FCCA-4B04-BECA-B95882F25295}" dt="2021-02-02T12:46:23.087" v="12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1" v="26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DE362A46-FCCA-4B04-BECA-B95882F25295}" dt="2021-02-02T13:29:10.341" v="26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add del">
        <pc:chgData name="Rautaporras Petteri" userId="d9004aa4-7491-43fa-b04f-4f6e300df2fa" providerId="ADAL" clId="{DE362A46-FCCA-4B04-BECA-B95882F25295}" dt="2021-02-02T13:32:20.034" v="363" actId="47"/>
        <pc:sldMkLst>
          <pc:docMk/>
          <pc:sldMk cId="1883353922" sldId="1049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1255078131" sldId="1051"/>
        </pc:sldMkLst>
      </pc:sldChg>
      <pc:sldChg chg="add del">
        <pc:chgData name="Rautaporras Petteri" userId="d9004aa4-7491-43fa-b04f-4f6e300df2fa" providerId="ADAL" clId="{DE362A46-FCCA-4B04-BECA-B95882F25295}" dt="2021-02-02T13:32:01.241" v="359" actId="47"/>
        <pc:sldMkLst>
          <pc:docMk/>
          <pc:sldMk cId="2419185632" sldId="1052"/>
        </pc:sldMkLst>
      </pc:sldChg>
      <pc:sldChg chg="add del">
        <pc:chgData name="Rautaporras Petteri" userId="d9004aa4-7491-43fa-b04f-4f6e300df2fa" providerId="ADAL" clId="{DE362A46-FCCA-4B04-BECA-B95882F25295}" dt="2021-02-02T13:32:02.280" v="360" actId="47"/>
        <pc:sldMkLst>
          <pc:docMk/>
          <pc:sldMk cId="1883107858" sldId="1053"/>
        </pc:sldMkLst>
      </pc:sldChg>
      <pc:sldChg chg="add ord">
        <pc:chgData name="Rautaporras Petteri" userId="d9004aa4-7491-43fa-b04f-4f6e300df2fa" providerId="ADAL" clId="{DE362A46-FCCA-4B04-BECA-B95882F25295}" dt="2021-02-02T13:32:10.408" v="362"/>
        <pc:sldMkLst>
          <pc:docMk/>
          <pc:sldMk cId="1680971455" sldId="1054"/>
        </pc:sldMkLst>
      </pc:sldChg>
      <pc:sldChg chg="add del">
        <pc:chgData name="Rautaporras Petteri" userId="d9004aa4-7491-43fa-b04f-4f6e300df2fa" providerId="ADAL" clId="{DE362A46-FCCA-4B04-BECA-B95882F25295}" dt="2021-02-02T13:32:23.857" v="364" actId="47"/>
        <pc:sldMkLst>
          <pc:docMk/>
          <pc:sldMk cId="2199243574" sldId="1055"/>
        </pc:sldMkLst>
      </pc:sldChg>
      <pc:sldChg chg="modSp mod">
        <pc:chgData name="Rautaporras Petteri" userId="d9004aa4-7491-43fa-b04f-4f6e300df2fa" providerId="ADAL" clId="{DE362A46-FCCA-4B04-BECA-B95882F25295}" dt="2021-02-02T12:42:07.042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DE362A46-FCCA-4B04-BECA-B95882F25295}" dt="2021-02-02T12:42:07.042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461487886" sldId="1065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926641037" sldId="1068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929075840" sldId="1075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3128374377" sldId="1076"/>
        </pc:sldMkLst>
      </pc:sldChg>
      <pc:sldChg chg="delSp modSp mod">
        <pc:chgData name="Rautaporras Petteri" userId="d9004aa4-7491-43fa-b04f-4f6e300df2fa" providerId="ADAL" clId="{DE362A46-FCCA-4B04-BECA-B95882F25295}" dt="2021-02-02T12:45:46.708" v="115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DE362A46-FCCA-4B04-BECA-B95882F25295}" dt="2021-02-02T12:45:46.708" v="115" actId="20577"/>
          <ac:spMkLst>
            <pc:docMk/>
            <pc:sldMk cId="2573167509" sldId="1104"/>
            <ac:spMk id="2" creationId="{4BB0440D-C81A-46A2-A992-15D38EB5099C}"/>
          </ac:spMkLst>
        </pc:spChg>
        <pc:spChg chg="del mod">
          <ac:chgData name="Rautaporras Petteri" userId="d9004aa4-7491-43fa-b04f-4f6e300df2fa" providerId="ADAL" clId="{DE362A46-FCCA-4B04-BECA-B95882F25295}" dt="2021-02-02T12:44:32.492" v="53" actId="478"/>
          <ac:spMkLst>
            <pc:docMk/>
            <pc:sldMk cId="2573167509" sldId="1104"/>
            <ac:spMk id="6" creationId="{01E05333-9BB3-4F34-A84F-F04B9AA04BD6}"/>
          </ac:spMkLst>
        </pc:spChg>
      </pc:sldChg>
      <pc:sldChg chg="modSp mod">
        <pc:chgData name="Rautaporras Petteri" userId="d9004aa4-7491-43fa-b04f-4f6e300df2fa" providerId="ADAL" clId="{DE362A46-FCCA-4B04-BECA-B95882F25295}" dt="2021-02-02T12:43:13.419" v="32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DE362A46-FCCA-4B04-BECA-B95882F25295}" dt="2021-02-02T12:43:13.419" v="3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addSp delSp modSp mod">
        <pc:chgData name="Rautaporras Petteri" userId="d9004aa4-7491-43fa-b04f-4f6e300df2fa" providerId="ADAL" clId="{DE362A46-FCCA-4B04-BECA-B95882F25295}" dt="2021-02-02T13:29:10.335" v="265"/>
        <pc:sldMkLst>
          <pc:docMk/>
          <pc:sldMk cId="3588709971" sldId="1118"/>
        </pc:sldMkLst>
        <pc:spChg chg="del mod">
          <ac:chgData name="Rautaporras Petteri" userId="d9004aa4-7491-43fa-b04f-4f6e300df2fa" providerId="ADAL" clId="{DE362A46-FCCA-4B04-BECA-B95882F25295}" dt="2021-02-02T12:44:05.866" v="49" actId="478"/>
          <ac:spMkLst>
            <pc:docMk/>
            <pc:sldMk cId="3588709971" sldId="1118"/>
            <ac:spMk id="2" creationId="{10D60A89-2036-4328-B2B7-88F906F1B4CB}"/>
          </ac:spMkLst>
        </pc:spChg>
        <pc:spChg chg="add mod">
          <ac:chgData name="Rautaporras Petteri" userId="d9004aa4-7491-43fa-b04f-4f6e300df2fa" providerId="ADAL" clId="{DE362A46-FCCA-4B04-BECA-B95882F25295}" dt="2021-02-02T12:44:08.445" v="51" actId="20577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DE362A46-FCCA-4B04-BECA-B95882F25295}" dt="2021-02-02T13:29:10.335" v="265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29:10.338" v="266"/>
        <pc:sldMkLst>
          <pc:docMk/>
          <pc:sldMk cId="37404522" sldId="1119"/>
        </pc:sldMkLst>
        <pc:spChg chg="mod">
          <ac:chgData name="Rautaporras Petteri" userId="d9004aa4-7491-43fa-b04f-4f6e300df2fa" providerId="ADAL" clId="{DE362A46-FCCA-4B04-BECA-B95882F25295}" dt="2021-02-02T12:50:13.686" v="231" actId="20577"/>
          <ac:spMkLst>
            <pc:docMk/>
            <pc:sldMk cId="37404522" sldId="1119"/>
            <ac:spMk id="2" creationId="{00000000-0000-0000-0000-000000000000}"/>
          </ac:spMkLst>
        </pc:spChg>
        <pc:graphicFrameChg chg="mod">
          <ac:chgData name="Rautaporras Petteri" userId="d9004aa4-7491-43fa-b04f-4f6e300df2fa" providerId="ADAL" clId="{DE362A46-FCCA-4B04-BECA-B95882F25295}" dt="2021-02-02T13:29:10.338" v="266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30:55.629" v="357" actId="27918"/>
        <pc:sldMkLst>
          <pc:docMk/>
          <pc:sldMk cId="2832050897" sldId="1124"/>
        </pc:sldMkLst>
        <pc:spChg chg="mod">
          <ac:chgData name="Rautaporras Petteri" userId="d9004aa4-7491-43fa-b04f-4f6e300df2fa" providerId="ADAL" clId="{DE362A46-FCCA-4B04-BECA-B95882F25295}" dt="2021-02-02T13:30:23.617" v="350" actId="1076"/>
          <ac:spMkLst>
            <pc:docMk/>
            <pc:sldMk cId="2832050897" sldId="1124"/>
            <ac:spMk id="6" creationId="{45D50DC8-ABBB-41E5-ADB8-3ED2DBB38EE2}"/>
          </ac:spMkLst>
        </pc:spChg>
        <pc:spChg chg="mod">
          <ac:chgData name="Rautaporras Petteri" userId="d9004aa4-7491-43fa-b04f-4f6e300df2fa" providerId="ADAL" clId="{DE362A46-FCCA-4B04-BECA-B95882F25295}" dt="2021-02-02T13:29:05.966" v="264" actId="20577"/>
          <ac:spMkLst>
            <pc:docMk/>
            <pc:sldMk cId="2832050897" sldId="1124"/>
            <ac:spMk id="7" creationId="{3687ADC7-98F5-412F-B49B-43449BFC94B9}"/>
          </ac:spMkLst>
        </pc:spChg>
      </pc:sldChg>
      <pc:sldChg chg="modSp mod">
        <pc:chgData name="Rautaporras Petteri" userId="d9004aa4-7491-43fa-b04f-4f6e300df2fa" providerId="ADAL" clId="{DE362A46-FCCA-4B04-BECA-B95882F25295}" dt="2021-02-02T13:53:45.132" v="749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DE362A46-FCCA-4B04-BECA-B95882F25295}" dt="2021-02-02T13:53:45.132" v="749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953579450" sldId="2076137381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57627379" sldId="2076137405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742810181" sldId="2076137409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528384583" sldId="207613741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246037169" sldId="2076137424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592693408" sldId="207613742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2206016" sldId="2076137430"/>
        </pc:sldMkLst>
      </pc:sldChg>
      <pc:sldChg chg="modSp mod">
        <pc:chgData name="Rautaporras Petteri" userId="d9004aa4-7491-43fa-b04f-4f6e300df2fa" providerId="ADAL" clId="{DE362A46-FCCA-4B04-BECA-B95882F25295}" dt="2021-02-02T12:43:40.188" v="47" actId="20577"/>
        <pc:sldMkLst>
          <pc:docMk/>
          <pc:sldMk cId="1005875025" sldId="2076137431"/>
        </pc:sldMkLst>
        <pc:spChg chg="mod">
          <ac:chgData name="Rautaporras Petteri" userId="d9004aa4-7491-43fa-b04f-4f6e300df2fa" providerId="ADAL" clId="{DE362A46-FCCA-4B04-BECA-B95882F25295}" dt="2021-02-02T12:43:40.188" v="47" actId="20577"/>
          <ac:spMkLst>
            <pc:docMk/>
            <pc:sldMk cId="1005875025" sldId="2076137431"/>
            <ac:spMk id="2" creationId="{1EA16522-6D7C-4EC7-AF1E-1A8A6FD7091A}"/>
          </ac:spMkLst>
        </pc:spChg>
      </pc:sldChg>
      <pc:sldChg chg="modSp del">
        <pc:chgData name="Rautaporras Petteri" userId="d9004aa4-7491-43fa-b04f-4f6e300df2fa" providerId="ADAL" clId="{DE362A46-FCCA-4B04-BECA-B95882F25295}" dt="2021-02-02T12:50:43.119" v="234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DE362A46-FCCA-4B04-BECA-B95882F25295}" dt="2021-02-02T12:46:23.439" v="128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210992372" sldId="2076137433"/>
        </pc:sldMkLst>
      </pc:sldChg>
      <pc:sldChg chg="del">
        <pc:chgData name="Rautaporras Petteri" userId="d9004aa4-7491-43fa-b04f-4f6e300df2fa" providerId="ADAL" clId="{DE362A46-FCCA-4B04-BECA-B95882F25295}" dt="2021-02-02T13:05:47.366" v="238" actId="47"/>
        <pc:sldMkLst>
          <pc:docMk/>
          <pc:sldMk cId="2340591786" sldId="2076137434"/>
        </pc:sldMkLst>
      </pc:sldChg>
      <pc:sldMasterChg chg="delSldLayout">
        <pc:chgData name="Rautaporras Petteri" userId="d9004aa4-7491-43fa-b04f-4f6e300df2fa" providerId="ADAL" clId="{DE362A46-FCCA-4B04-BECA-B95882F25295}" dt="2021-02-02T13:28:15.778" v="239" actId="47"/>
        <pc:sldMasterMkLst>
          <pc:docMk/>
          <pc:sldMasterMk cId="729942253" sldId="2147483648"/>
        </pc:sldMasterMkLst>
        <pc:sldLayoutChg chg="del">
          <pc:chgData name="Rautaporras Petteri" userId="d9004aa4-7491-43fa-b04f-4f6e300df2fa" providerId="ADAL" clId="{DE362A46-FCCA-4B04-BECA-B95882F25295}" dt="2021-02-02T13:28:15.778" v="239" actId="47"/>
          <pc:sldLayoutMkLst>
            <pc:docMk/>
            <pc:sldMasterMk cId="729942253" sldId="2147483648"/>
            <pc:sldLayoutMk cId="1093377509" sldId="2147483718"/>
          </pc:sldLayoutMkLst>
        </pc:sldLayoutChg>
      </pc:sldMasterChg>
    </pc:docChg>
  </pc:docChgLst>
  <pc:docChgLst>
    <pc:chgData name="Rautaporras Petteri" userId="d9004aa4-7491-43fa-b04f-4f6e300df2fa" providerId="ADAL" clId="{7C9586CA-564D-4A87-8543-C3A70CFC5EEF}"/>
    <pc:docChg chg="undo custSel addSld delSld modSld">
      <pc:chgData name="Rautaporras Petteri" userId="d9004aa4-7491-43fa-b04f-4f6e300df2fa" providerId="ADAL" clId="{7C9586CA-564D-4A87-8543-C3A70CFC5EEF}" dt="2021-08-09T05:20:14.111" v="3364" actId="20577"/>
      <pc:docMkLst>
        <pc:docMk/>
      </pc:docMkLst>
      <pc:sldChg chg="add">
        <pc:chgData name="Rautaporras Petteri" userId="d9004aa4-7491-43fa-b04f-4f6e300df2fa" providerId="ADAL" clId="{7C9586CA-564D-4A87-8543-C3A70CFC5EEF}" dt="2021-08-02T07:52:46.127" v="740"/>
        <pc:sldMkLst>
          <pc:docMk/>
          <pc:sldMk cId="3984870155" sldId="256"/>
        </pc:sldMkLst>
      </pc:sldChg>
      <pc:sldChg chg="del">
        <pc:chgData name="Rautaporras Petteri" userId="d9004aa4-7491-43fa-b04f-4f6e300df2fa" providerId="ADAL" clId="{7C9586CA-564D-4A87-8543-C3A70CFC5EEF}" dt="2021-08-02T10:33:04.721" v="1263" actId="47"/>
        <pc:sldMkLst>
          <pc:docMk/>
          <pc:sldMk cId="347492013" sldId="258"/>
        </pc:sldMkLst>
      </pc:sldChg>
      <pc:sldChg chg="modSp del">
        <pc:chgData name="Rautaporras Petteri" userId="d9004aa4-7491-43fa-b04f-4f6e300df2fa" providerId="ADAL" clId="{7C9586CA-564D-4A87-8543-C3A70CFC5EEF}" dt="2021-08-02T09:46:03.697" v="1168" actId="47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7C9586CA-564D-4A87-8543-C3A70CFC5EEF}" dt="2021-08-02T09:46:03.672" v="1167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add">
        <pc:chgData name="Rautaporras Petteri" userId="d9004aa4-7491-43fa-b04f-4f6e300df2fa" providerId="ADAL" clId="{7C9586CA-564D-4A87-8543-C3A70CFC5EEF}" dt="2021-08-03T11:48:55.392" v="2538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7C9586CA-564D-4A87-8543-C3A70CFC5EEF}" dt="2021-08-03T11:48:55.392" v="2538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2T09:46:32.810" v="1174" actId="47"/>
        <pc:sldMkLst>
          <pc:docMk/>
          <pc:sldMk cId="2833165680" sldId="356"/>
        </pc:sldMkLst>
      </pc:sldChg>
      <pc:sldChg chg="del">
        <pc:chgData name="Rautaporras Petteri" userId="d9004aa4-7491-43fa-b04f-4f6e300df2fa" providerId="ADAL" clId="{7C9586CA-564D-4A87-8543-C3A70CFC5EEF}" dt="2021-08-02T09:46:27.095" v="1172" actId="47"/>
        <pc:sldMkLst>
          <pc:docMk/>
          <pc:sldMk cId="698580732" sldId="363"/>
        </pc:sldMkLst>
      </pc:sldChg>
      <pc:sldChg chg="del">
        <pc:chgData name="Rautaporras Petteri" userId="d9004aa4-7491-43fa-b04f-4f6e300df2fa" providerId="ADAL" clId="{7C9586CA-564D-4A87-8543-C3A70CFC5EEF}" dt="2021-08-02T08:24:51.941" v="742" actId="47"/>
        <pc:sldMkLst>
          <pc:docMk/>
          <pc:sldMk cId="3098896778" sldId="1046"/>
        </pc:sldMkLst>
      </pc:sldChg>
      <pc:sldChg chg="modSp add mod">
        <pc:chgData name="Rautaporras Petteri" userId="d9004aa4-7491-43fa-b04f-4f6e300df2fa" providerId="ADAL" clId="{7C9586CA-564D-4A87-8543-C3A70CFC5EEF}" dt="2021-08-03T11:39:56.481" v="2032" actId="20577"/>
        <pc:sldMkLst>
          <pc:docMk/>
          <pc:sldMk cId="1255078131" sldId="1051"/>
        </pc:sldMkLst>
        <pc:spChg chg="mod">
          <ac:chgData name="Rautaporras Petteri" userId="d9004aa4-7491-43fa-b04f-4f6e300df2fa" providerId="ADAL" clId="{7C9586CA-564D-4A87-8543-C3A70CFC5EEF}" dt="2021-08-03T11:39:56.481" v="2032" actId="20577"/>
          <ac:spMkLst>
            <pc:docMk/>
            <pc:sldMk cId="1255078131" sldId="1051"/>
            <ac:spMk id="6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9T05:20:14.111" v="336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7C9586CA-564D-4A87-8543-C3A70CFC5EEF}" dt="2021-08-09T05:20:14.111" v="336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d9004aa4-7491-43fa-b04f-4f6e300df2fa" providerId="ADAL" clId="{7C9586CA-564D-4A87-8543-C3A70CFC5EEF}" dt="2021-08-03T11:38:30.986" v="1998" actId="47"/>
        <pc:sldMkLst>
          <pc:docMk/>
          <pc:sldMk cId="3461487886" sldId="1065"/>
        </pc:sldMkLst>
      </pc:sldChg>
      <pc:sldChg chg="del">
        <pc:chgData name="Rautaporras Petteri" userId="d9004aa4-7491-43fa-b04f-4f6e300df2fa" providerId="ADAL" clId="{7C9586CA-564D-4A87-8543-C3A70CFC5EEF}" dt="2021-08-02T09:46:29.615" v="1173" actId="47"/>
        <pc:sldMkLst>
          <pc:docMk/>
          <pc:sldMk cId="3421334924" sldId="1067"/>
        </pc:sldMkLst>
      </pc:sldChg>
      <pc:sldChg chg="modSp add mod">
        <pc:chgData name="Rautaporras Petteri" userId="d9004aa4-7491-43fa-b04f-4f6e300df2fa" providerId="ADAL" clId="{7C9586CA-564D-4A87-8543-C3A70CFC5EEF}" dt="2021-08-04T06:48:09.789" v="3361" actId="255"/>
        <pc:sldMkLst>
          <pc:docMk/>
          <pc:sldMk cId="1166976421" sldId="1068"/>
        </pc:sldMkLst>
        <pc:spChg chg="mod">
          <ac:chgData name="Rautaporras Petteri" userId="d9004aa4-7491-43fa-b04f-4f6e300df2fa" providerId="ADAL" clId="{7C9586CA-564D-4A87-8543-C3A70CFC5EEF}" dt="2021-08-04T06:48:09.789" v="3361" actId="255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4T06:48:34.139" v="3362" actId="255"/>
        <pc:sldMkLst>
          <pc:docMk/>
          <pc:sldMk cId="929075840" sldId="1075"/>
        </pc:sldMkLst>
        <pc:spChg chg="mod">
          <ac:chgData name="Rautaporras Petteri" userId="d9004aa4-7491-43fa-b04f-4f6e300df2fa" providerId="ADAL" clId="{7C9586CA-564D-4A87-8543-C3A70CFC5EEF}" dt="2021-08-04T06:48:34.139" v="3362" actId="255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7C9586CA-564D-4A87-8543-C3A70CFC5EEF}" dt="2021-08-04T05:17:23.042" v="3262" actId="1076"/>
        <pc:sldMkLst>
          <pc:docMk/>
          <pc:sldMk cId="2573167509" sldId="1104"/>
        </pc:sldMkLst>
        <pc:spChg chg="mod">
          <ac:chgData name="Rautaporras Petteri" userId="d9004aa4-7491-43fa-b04f-4f6e300df2fa" providerId="ADAL" clId="{7C9586CA-564D-4A87-8543-C3A70CFC5EEF}" dt="2021-08-04T05:17:23.042" v="3262" actId="1076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7C9586CA-564D-4A87-8543-C3A70CFC5EEF}" dt="2021-08-02T07:52:02.012" v="739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7C9586CA-564D-4A87-8543-C3A70CFC5EEF}" dt="2021-08-02T07:52:02.012" v="739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7C9586CA-564D-4A87-8543-C3A70CFC5EEF}" dt="2021-08-04T06:47:48.582" v="3359" actId="255"/>
        <pc:sldMkLst>
          <pc:docMk/>
          <pc:sldMk cId="3588709971" sldId="1118"/>
        </pc:sldMkLst>
        <pc:spChg chg="mod">
          <ac:chgData name="Rautaporras Petteri" userId="d9004aa4-7491-43fa-b04f-4f6e300df2fa" providerId="ADAL" clId="{7C9586CA-564D-4A87-8543-C3A70CFC5EEF}" dt="2021-08-04T06:47:48.582" v="3359" actId="255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7C9586CA-564D-4A87-8543-C3A70CFC5EEF}" dt="2021-08-03T11:43:25.803" v="2181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7C9586CA-564D-4A87-8543-C3A70CFC5EEF}" dt="2021-08-04T05:22:57.362" v="3344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7C9586CA-564D-4A87-8543-C3A70CFC5EEF}" dt="2021-08-04T05:22:57.362" v="334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7C9586CA-564D-4A87-8543-C3A70CFC5EEF}" dt="2021-08-02T08:20:59.745" v="741" actId="47"/>
        <pc:sldMkLst>
          <pc:docMk/>
          <pc:sldMk cId="1005875025" sldId="2076137431"/>
        </pc:sldMkLst>
      </pc:sldChg>
      <pc:sldChg chg="modSp del">
        <pc:chgData name="Rautaporras Petteri" userId="d9004aa4-7491-43fa-b04f-4f6e300df2fa" providerId="ADAL" clId="{7C9586CA-564D-4A87-8543-C3A70CFC5EEF}" dt="2021-08-02T09:46:24.141" v="1171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7C9586CA-564D-4A87-8543-C3A70CFC5EEF}" dt="2021-08-02T09:46:24.114" v="1170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3T11:37:54.646" v="1993" actId="47"/>
        <pc:sldMkLst>
          <pc:docMk/>
          <pc:sldMk cId="743890610" sldId="2076137433"/>
        </pc:sldMkLst>
      </pc:sldChg>
      <pc:sldChg chg="del">
        <pc:chgData name="Rautaporras Petteri" userId="d9004aa4-7491-43fa-b04f-4f6e300df2fa" providerId="ADAL" clId="{7C9586CA-564D-4A87-8543-C3A70CFC5EEF}" dt="2021-08-03T11:38:38.473" v="2000" actId="47"/>
        <pc:sldMkLst>
          <pc:docMk/>
          <pc:sldMk cId="3005809879" sldId="2076137435"/>
        </pc:sldMkLst>
      </pc:sldChg>
      <pc:sldChg chg="del">
        <pc:chgData name="Rautaporras Petteri" userId="d9004aa4-7491-43fa-b04f-4f6e300df2fa" providerId="ADAL" clId="{7C9586CA-564D-4A87-8543-C3A70CFC5EEF}" dt="2021-08-03T11:39:12.307" v="2002" actId="47"/>
        <pc:sldMkLst>
          <pc:docMk/>
          <pc:sldMk cId="800762062" sldId="2076137436"/>
        </pc:sldMkLst>
      </pc:sldChg>
      <pc:sldChg chg="modSp del mod">
        <pc:chgData name="Rautaporras Petteri" userId="d9004aa4-7491-43fa-b04f-4f6e300df2fa" providerId="ADAL" clId="{7C9586CA-564D-4A87-8543-C3A70CFC5EEF}" dt="2021-08-02T09:54:26.592" v="1262" actId="47"/>
        <pc:sldMkLst>
          <pc:docMk/>
          <pc:sldMk cId="858822830" sldId="2076137437"/>
        </pc:sldMkLst>
        <pc:spChg chg="mod">
          <ac:chgData name="Rautaporras Petteri" userId="d9004aa4-7491-43fa-b04f-4f6e300df2fa" providerId="ADAL" clId="{7C9586CA-564D-4A87-8543-C3A70CFC5EEF}" dt="2021-08-02T09:47:27.707" v="1258" actId="20577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7C9586CA-564D-4A87-8543-C3A70CFC5EEF}" dt="2021-08-02T09:54:20.374" v="1261" actId="20577"/>
          <ac:spMkLst>
            <pc:docMk/>
            <pc:sldMk cId="858822830" sldId="2076137437"/>
            <ac:spMk id="6" creationId="{26680B02-E3ED-48E7-BF93-F964DC93B53B}"/>
          </ac:spMkLst>
        </pc:spChg>
      </pc:sldChg>
      <pc:sldChg chg="add">
        <pc:chgData name="Rautaporras Petteri" userId="d9004aa4-7491-43fa-b04f-4f6e300df2fa" providerId="ADAL" clId="{7C9586CA-564D-4A87-8543-C3A70CFC5EEF}" dt="2021-08-03T11:38:28.334" v="1997"/>
        <pc:sldMkLst>
          <pc:docMk/>
          <pc:sldMk cId="3164595974" sldId="2076137437"/>
        </pc:sldMkLst>
      </pc:sldChg>
      <pc:sldChg chg="modSp add mod">
        <pc:chgData name="Rautaporras Petteri" userId="d9004aa4-7491-43fa-b04f-4f6e300df2fa" providerId="ADAL" clId="{7C9586CA-564D-4A87-8543-C3A70CFC5EEF}" dt="2021-08-04T06:48:03.207" v="3360" actId="255"/>
        <pc:sldMkLst>
          <pc:docMk/>
          <pc:sldMk cId="2829966302" sldId="2076137438"/>
        </pc:sldMkLst>
        <pc:spChg chg="mod">
          <ac:chgData name="Rautaporras Petteri" userId="d9004aa4-7491-43fa-b04f-4f6e300df2fa" providerId="ADAL" clId="{7C9586CA-564D-4A87-8543-C3A70CFC5EEF}" dt="2021-08-04T06:48:03.207" v="3360" actId="255"/>
          <ac:spMkLst>
            <pc:docMk/>
            <pc:sldMk cId="2829966302" sldId="2076137438"/>
            <ac:spMk id="2" creationId="{00000000-0000-0000-0000-000000000000}"/>
          </ac:spMkLst>
        </pc:spChg>
        <pc:graphicFrameChg chg="modGraphic">
          <ac:chgData name="Rautaporras Petteri" userId="d9004aa4-7491-43fa-b04f-4f6e300df2fa" providerId="ADAL" clId="{7C9586CA-564D-4A87-8543-C3A70CFC5EEF}" dt="2021-08-03T18:16:09.840" v="3035" actId="14734"/>
          <ac:graphicFrameMkLst>
            <pc:docMk/>
            <pc:sldMk cId="2829966302" sldId="2076137438"/>
            <ac:graphicFrameMk id="14" creationId="{8AD21D0F-9B6A-4E23-A81A-E23C9B1E89C1}"/>
          </ac:graphicFrameMkLst>
        </pc:graphicFrameChg>
        <pc:graphicFrameChg chg="mod">
          <ac:chgData name="Rautaporras Petteri" userId="d9004aa4-7491-43fa-b04f-4f6e300df2fa" providerId="ADAL" clId="{7C9586CA-564D-4A87-8543-C3A70CFC5EEF}" dt="2021-08-03T18:16:12.398" v="3036"/>
          <ac:graphicFrameMkLst>
            <pc:docMk/>
            <pc:sldMk cId="2829966302" sldId="2076137438"/>
            <ac:graphicFrameMk id="25" creationId="{00000000-0000-0000-0000-000000000000}"/>
          </ac:graphicFrameMkLst>
        </pc:graphicFrameChg>
      </pc:sldChg>
      <pc:sldChg chg="modSp new del mod">
        <pc:chgData name="Rautaporras Petteri" userId="d9004aa4-7491-43fa-b04f-4f6e300df2fa" providerId="ADAL" clId="{7C9586CA-564D-4A87-8543-C3A70CFC5EEF}" dt="2021-08-04T05:28:14.019" v="3345" actId="47"/>
        <pc:sldMkLst>
          <pc:docMk/>
          <pc:sldMk cId="720751863" sldId="2076137439"/>
        </pc:sldMkLst>
        <pc:spChg chg="mod">
          <ac:chgData name="Rautaporras Petteri" userId="d9004aa4-7491-43fa-b04f-4f6e300df2fa" providerId="ADAL" clId="{7C9586CA-564D-4A87-8543-C3A70CFC5EEF}" dt="2021-08-03T17:47:41.370" v="3033" actId="20577"/>
          <ac:spMkLst>
            <pc:docMk/>
            <pc:sldMk cId="720751863" sldId="2076137439"/>
            <ac:spMk id="6" creationId="{3C97234C-11BA-419C-AC2A-79CCD2AA14B0}"/>
          </ac:spMkLst>
        </pc:spChg>
      </pc:sldChg>
    </pc:docChg>
  </pc:docChgLst>
  <pc:docChgLst>
    <pc:chgData name="Rautaporras Petteri" userId="81ae4bc9-51ec-4b09-af2d-f08f9486593f" providerId="ADAL" clId="{7C9586CA-564D-4A87-8543-C3A70CFC5EEF}"/>
    <pc:docChg chg="delSld">
      <pc:chgData name="Rautaporras Petteri" userId="81ae4bc9-51ec-4b09-af2d-f08f9486593f" providerId="ADAL" clId="{7C9586CA-564D-4A87-8543-C3A70CFC5EEF}" dt="2021-08-13T06:21:07.762" v="0" actId="47"/>
      <pc:docMkLst>
        <pc:docMk/>
      </pc:docMkLst>
      <pc:sldChg chg="del">
        <pc:chgData name="Rautaporras Petteri" userId="81ae4bc9-51ec-4b09-af2d-f08f9486593f" providerId="ADAL" clId="{7C9586CA-564D-4A87-8543-C3A70CFC5EEF}" dt="2021-08-13T06:21:07.762" v="0" actId="47"/>
        <pc:sldMkLst>
          <pc:docMk/>
          <pc:sldMk cId="929075840" sldId="1075"/>
        </pc:sldMkLst>
      </pc:sldChg>
    </pc:docChg>
  </pc:docChgLst>
  <pc:docChgLst>
    <pc:chgData name="Rautaporras Petteri" userId="d9004aa4-7491-43fa-b04f-4f6e300df2fa" providerId="ADAL" clId="{EF2E8D5A-BFC8-4880-AFEB-1BC62E57649F}"/>
    <pc:docChg chg="undo custSel addSld delSld modSld sldOrd">
      <pc:chgData name="Rautaporras Petteri" userId="d9004aa4-7491-43fa-b04f-4f6e300df2fa" providerId="ADAL" clId="{EF2E8D5A-BFC8-4880-AFEB-1BC62E57649F}" dt="2021-04-28T06:02:50.029" v="3061" actId="20577"/>
      <pc:docMkLst>
        <pc:docMk/>
      </pc:docMkLst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347492013" sldId="258"/>
        </pc:sldMkLst>
      </pc:sldChg>
      <pc:sldChg chg="add del">
        <pc:chgData name="Rautaporras Petteri" userId="d9004aa4-7491-43fa-b04f-4f6e300df2fa" providerId="ADAL" clId="{EF2E8D5A-BFC8-4880-AFEB-1BC62E57649F}" dt="2021-04-26T12:59:23.145" v="216" actId="47"/>
        <pc:sldMkLst>
          <pc:docMk/>
          <pc:sldMk cId="2510371092" sldId="266"/>
        </pc:sldMkLst>
      </pc:sldChg>
      <pc:sldChg chg="modSp ord">
        <pc:chgData name="Rautaporras Petteri" userId="d9004aa4-7491-43fa-b04f-4f6e300df2fa" providerId="ADAL" clId="{EF2E8D5A-BFC8-4880-AFEB-1BC62E57649F}" dt="2021-04-26T12:59:29.288" v="220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EF2E8D5A-BFC8-4880-AFEB-1BC62E57649F}" dt="2021-04-26T12:47:12.302" v="21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26.631" v="218" actId="4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EF2E8D5A-BFC8-4880-AFEB-1BC62E57649F}" dt="2021-04-26T12:59:26.613" v="21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modSp add mod">
        <pc:chgData name="Rautaporras Petteri" userId="d9004aa4-7491-43fa-b04f-4f6e300df2fa" providerId="ADAL" clId="{EF2E8D5A-BFC8-4880-AFEB-1BC62E57649F}" dt="2021-04-26T13:06:21.580" v="335" actId="1076"/>
        <pc:sldMkLst>
          <pc:docMk/>
          <pc:sldMk cId="2833165680" sldId="356"/>
        </pc:sldMkLst>
        <pc:spChg chg="mod">
          <ac:chgData name="Rautaporras Petteri" userId="d9004aa4-7491-43fa-b04f-4f6e300df2fa" providerId="ADAL" clId="{EF2E8D5A-BFC8-4880-AFEB-1BC62E57649F}" dt="2021-04-26T13:06:21.580" v="335" actId="1076"/>
          <ac:spMkLst>
            <pc:docMk/>
            <pc:sldMk cId="2833165680" sldId="356"/>
            <ac:spMk id="8" creationId="{03A6E3B0-5FBD-4EC6-893B-FFB382725403}"/>
          </ac:spMkLst>
        </pc:spChg>
      </pc:sldChg>
      <pc:sldChg chg="modSp add mod">
        <pc:chgData name="Rautaporras Petteri" userId="d9004aa4-7491-43fa-b04f-4f6e300df2fa" providerId="ADAL" clId="{EF2E8D5A-BFC8-4880-AFEB-1BC62E57649F}" dt="2021-04-26T13:06:11.068" v="333" actId="1076"/>
        <pc:sldMkLst>
          <pc:docMk/>
          <pc:sldMk cId="698580732" sldId="363"/>
        </pc:sldMkLst>
        <pc:spChg chg="mod">
          <ac:chgData name="Rautaporras Petteri" userId="d9004aa4-7491-43fa-b04f-4f6e300df2fa" providerId="ADAL" clId="{EF2E8D5A-BFC8-4880-AFEB-1BC62E57649F}" dt="2021-04-26T13:06:11.068" v="333" actId="1076"/>
          <ac:spMkLst>
            <pc:docMk/>
            <pc:sldMk cId="698580732" sldId="363"/>
            <ac:spMk id="14" creationId="{65054603-5EDB-48DD-ABBD-118DA9B3A626}"/>
          </ac:spMkLst>
        </pc:spChg>
      </pc:sldChg>
      <pc:sldChg chg="addSp modSp add del mod">
        <pc:chgData name="Rautaporras Petteri" userId="d9004aa4-7491-43fa-b04f-4f6e300df2fa" providerId="ADAL" clId="{EF2E8D5A-BFC8-4880-AFEB-1BC62E57649F}" dt="2021-04-27T05:02:04.625" v="337" actId="47"/>
        <pc:sldMkLst>
          <pc:docMk/>
          <pc:sldMk cId="3098896778" sldId="1046"/>
        </pc:sldMkLst>
        <pc:spChg chg="add mod">
          <ac:chgData name="Rautaporras Petteri" userId="d9004aa4-7491-43fa-b04f-4f6e300df2fa" providerId="ADAL" clId="{EF2E8D5A-BFC8-4880-AFEB-1BC62E57649F}" dt="2021-04-26T12:46:16.580" v="201" actId="122"/>
          <ac:spMkLst>
            <pc:docMk/>
            <pc:sldMk cId="3098896778" sldId="1046"/>
            <ac:spMk id="2" creationId="{B2F33495-F554-4D35-AB1A-A31F95B2B096}"/>
          </ac:spMkLst>
        </pc:spChg>
        <pc:spChg chg="mod">
          <ac:chgData name="Rautaporras Petteri" userId="d9004aa4-7491-43fa-b04f-4f6e300df2fa" providerId="ADAL" clId="{EF2E8D5A-BFC8-4880-AFEB-1BC62E57649F}" dt="2021-04-26T12:36:51.679" v="103" actId="20577"/>
          <ac:spMkLst>
            <pc:docMk/>
            <pc:sldMk cId="3098896778" sldId="1046"/>
            <ac:spMk id="10" creationId="{00000000-0000-0000-0000-000000000000}"/>
          </ac:spMkLst>
        </pc:spChg>
        <pc:spChg chg="add mod">
          <ac:chgData name="Rautaporras Petteri" userId="d9004aa4-7491-43fa-b04f-4f6e300df2fa" providerId="ADAL" clId="{EF2E8D5A-BFC8-4880-AFEB-1BC62E57649F}" dt="2021-04-26T12:46:45.868" v="205" actId="571"/>
          <ac:spMkLst>
            <pc:docMk/>
            <pc:sldMk cId="3098896778" sldId="1046"/>
            <ac:spMk id="38" creationId="{94ECD6A5-8757-4AE7-A7F4-F3E4ED8371C1}"/>
          </ac:spMkLst>
        </pc:spChg>
        <pc:spChg chg="mod">
          <ac:chgData name="Rautaporras Petteri" userId="d9004aa4-7491-43fa-b04f-4f6e300df2fa" providerId="ADAL" clId="{EF2E8D5A-BFC8-4880-AFEB-1BC62E57649F}" dt="2021-04-26T12:42:33.444" v="165" actId="14100"/>
          <ac:spMkLst>
            <pc:docMk/>
            <pc:sldMk cId="3098896778" sldId="1046"/>
            <ac:spMk id="20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51.101" v="137" actId="122"/>
          <ac:spMkLst>
            <pc:docMk/>
            <pc:sldMk cId="3098896778" sldId="1046"/>
            <ac:spMk id="20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9.126" v="136" actId="122"/>
          <ac:spMkLst>
            <pc:docMk/>
            <pc:sldMk cId="3098896778" sldId="1046"/>
            <ac:spMk id="20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23.130" v="125" actId="1076"/>
          <ac:spMkLst>
            <pc:docMk/>
            <pc:sldMk cId="3098896778" sldId="1046"/>
            <ac:spMk id="20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6.510" v="135" actId="122"/>
          <ac:spMkLst>
            <pc:docMk/>
            <pc:sldMk cId="3098896778" sldId="1046"/>
            <ac:spMk id="20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34.716" v="204" actId="14100"/>
          <ac:spMkLst>
            <pc:docMk/>
            <pc:sldMk cId="3098896778" sldId="1046"/>
            <ac:spMk id="21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13.268" v="148" actId="207"/>
          <ac:spMkLst>
            <pc:docMk/>
            <pc:sldMk cId="3098896778" sldId="1046"/>
            <ac:spMk id="21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2:23.627" v="164" actId="14100"/>
          <ac:spMkLst>
            <pc:docMk/>
            <pc:sldMk cId="3098896778" sldId="1046"/>
            <ac:spMk id="21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56.409" v="112" actId="1076"/>
          <ac:spMkLst>
            <pc:docMk/>
            <pc:sldMk cId="3098896778" sldId="1046"/>
            <ac:spMk id="21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2.189" v="172" actId="1076"/>
          <ac:spMkLst>
            <pc:docMk/>
            <pc:sldMk cId="3098896778" sldId="1046"/>
            <ac:spMk id="21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17.253" v="169" actId="1076"/>
          <ac:spMkLst>
            <pc:docMk/>
            <pc:sldMk cId="3098896778" sldId="1046"/>
            <ac:spMk id="21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20.141" v="170" actId="1076"/>
          <ac:spMkLst>
            <pc:docMk/>
            <pc:sldMk cId="3098896778" sldId="1046"/>
            <ac:spMk id="21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7.470" v="173" actId="14100"/>
          <ac:spMkLst>
            <pc:docMk/>
            <pc:sldMk cId="3098896778" sldId="1046"/>
            <ac:spMk id="21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35.174" v="108" actId="207"/>
          <ac:spMkLst>
            <pc:docMk/>
            <pc:sldMk cId="3098896778" sldId="1046"/>
            <ac:spMk id="22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1:48.098" v="160" actId="1076"/>
          <ac:spMkLst>
            <pc:docMk/>
            <pc:sldMk cId="3098896778" sldId="1046"/>
            <ac:spMk id="22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53.238" v="177" actId="1076"/>
          <ac:spMkLst>
            <pc:docMk/>
            <pc:sldMk cId="3098896778" sldId="1046"/>
            <ac:spMk id="22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03.254" v="181" actId="1076"/>
          <ac:spMkLst>
            <pc:docMk/>
            <pc:sldMk cId="3098896778" sldId="1046"/>
            <ac:spMk id="22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34.231" v="192" actId="1076"/>
          <ac:spMkLst>
            <pc:docMk/>
            <pc:sldMk cId="3098896778" sldId="1046"/>
            <ac:spMk id="224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26.887" v="203" actId="208"/>
          <ac:spMkLst>
            <pc:docMk/>
            <pc:sldMk cId="3098896778" sldId="1046"/>
            <ac:spMk id="22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7:01.035" v="206" actId="1076"/>
          <ac:spMkLst>
            <pc:docMk/>
            <pc:sldMk cId="3098896778" sldId="1046"/>
            <ac:spMk id="22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29.684" v="155" actId="1076"/>
          <ac:spMkLst>
            <pc:docMk/>
            <pc:sldMk cId="3098896778" sldId="1046"/>
            <ac:spMk id="231" creationId="{00000000-0000-0000-0000-000000000000}"/>
          </ac:spMkLst>
        </pc:spChg>
        <pc:graphicFrameChg chg="mod">
          <ac:chgData name="Rautaporras Petteri" userId="d9004aa4-7491-43fa-b04f-4f6e300df2fa" providerId="ADAL" clId="{EF2E8D5A-BFC8-4880-AFEB-1BC62E57649F}" dt="2021-04-26T12:33:57.837" v="48" actId="692"/>
          <ac:graphicFrameMkLst>
            <pc:docMk/>
            <pc:sldMk cId="3098896778" sldId="1046"/>
            <ac:graphicFrameMk id="200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1:49.411" v="228" actId="47"/>
        <pc:sldMkLst>
          <pc:docMk/>
          <pc:sldMk cId="1255078131" sldId="1051"/>
        </pc:sldMkLst>
      </pc:sldChg>
      <pc:sldChg chg="del">
        <pc:chgData name="Rautaporras Petteri" userId="d9004aa4-7491-43fa-b04f-4f6e300df2fa" providerId="ADAL" clId="{EF2E8D5A-BFC8-4880-AFEB-1BC62E57649F}" dt="2021-04-26T13:02:19.725" v="234" actId="47"/>
        <pc:sldMkLst>
          <pc:docMk/>
          <pc:sldMk cId="1680971455" sldId="1054"/>
        </pc:sldMkLst>
      </pc:sldChg>
      <pc:sldChg chg="modSp mod">
        <pc:chgData name="Rautaporras Petteri" userId="d9004aa4-7491-43fa-b04f-4f6e300df2fa" providerId="ADAL" clId="{EF2E8D5A-BFC8-4880-AFEB-1BC62E57649F}" dt="2021-04-26T12:06:08.498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EF2E8D5A-BFC8-4880-AFEB-1BC62E57649F}" dt="2021-04-26T12:06:08.498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del mod">
        <pc:chgData name="Rautaporras Petteri" userId="d9004aa4-7491-43fa-b04f-4f6e300df2fa" providerId="ADAL" clId="{EF2E8D5A-BFC8-4880-AFEB-1BC62E57649F}" dt="2021-04-27T19:23:45.951" v="2713" actId="20577"/>
        <pc:sldMkLst>
          <pc:docMk/>
          <pc:sldMk cId="3461487886" sldId="1065"/>
        </pc:sldMkLst>
        <pc:graphicFrameChg chg="modGraphic">
          <ac:chgData name="Rautaporras Petteri" userId="d9004aa4-7491-43fa-b04f-4f6e300df2fa" providerId="ADAL" clId="{EF2E8D5A-BFC8-4880-AFEB-1BC62E57649F}" dt="2021-04-27T19:23:45.951" v="2713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add">
        <pc:chgData name="Rautaporras Petteri" userId="d9004aa4-7491-43fa-b04f-4f6e300df2fa" providerId="ADAL" clId="{EF2E8D5A-BFC8-4880-AFEB-1BC62E57649F}" dt="2021-04-26T13:01:20.289" v="225"/>
        <pc:sldMkLst>
          <pc:docMk/>
          <pc:sldMk cId="3421334924" sldId="1067"/>
        </pc:sldMkLst>
      </pc:sldChg>
      <pc:sldChg chg="del">
        <pc:chgData name="Rautaporras Petteri" userId="d9004aa4-7491-43fa-b04f-4f6e300df2fa" providerId="ADAL" clId="{EF2E8D5A-BFC8-4880-AFEB-1BC62E57649F}" dt="2021-04-26T13:04:22.061" v="332" actId="47"/>
        <pc:sldMkLst>
          <pc:docMk/>
          <pc:sldMk cId="3926641037" sldId="1068"/>
        </pc:sldMkLst>
      </pc:sldChg>
      <pc:sldChg chg="modSp mod">
        <pc:chgData name="Rautaporras Petteri" userId="d9004aa4-7491-43fa-b04f-4f6e300df2fa" providerId="ADAL" clId="{EF2E8D5A-BFC8-4880-AFEB-1BC62E57649F}" dt="2021-04-28T05:53:01.442" v="3021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EF2E8D5A-BFC8-4880-AFEB-1BC62E57649F}" dt="2021-04-28T05:53:01.442" v="3021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del mod">
        <pc:chgData name="Rautaporras Petteri" userId="d9004aa4-7491-43fa-b04f-4f6e300df2fa" providerId="ADAL" clId="{EF2E8D5A-BFC8-4880-AFEB-1BC62E57649F}" dt="2021-04-28T05:52:56.374" v="3020" actId="47"/>
        <pc:sldMkLst>
          <pc:docMk/>
          <pc:sldMk cId="3128374377" sldId="1076"/>
        </pc:sldMkLst>
        <pc:spChg chg="mod">
          <ac:chgData name="Rautaporras Petteri" userId="d9004aa4-7491-43fa-b04f-4f6e300df2fa" providerId="ADAL" clId="{EF2E8D5A-BFC8-4880-AFEB-1BC62E57649F}" dt="2021-04-28T05:52:23.709" v="2968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EF2E8D5A-BFC8-4880-AFEB-1BC62E57649F}" dt="2021-04-28T06:02:50.029" v="306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EF2E8D5A-BFC8-4880-AFEB-1BC62E57649F}" dt="2021-04-28T06:02:50.029" v="306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EF2E8D5A-BFC8-4880-AFEB-1BC62E57649F}" dt="2021-04-27T10:54:22.870" v="2611" actId="313"/>
        <pc:sldMkLst>
          <pc:docMk/>
          <pc:sldMk cId="2272776827" sldId="1117"/>
        </pc:sldMkLst>
        <pc:spChg chg="mod">
          <ac:chgData name="Rautaporras Petteri" userId="d9004aa4-7491-43fa-b04f-4f6e300df2fa" providerId="ADAL" clId="{EF2E8D5A-BFC8-4880-AFEB-1BC62E57649F}" dt="2021-04-27T10:54:22.870" v="2611" actId="313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EF2E8D5A-BFC8-4880-AFEB-1BC62E57649F}" dt="2021-04-26T12:47:23.298" v="211"/>
        <pc:sldMkLst>
          <pc:docMk/>
          <pc:sldMk cId="3588709971" sldId="1118"/>
        </pc:sldMkLst>
        <pc:spChg chg="mod">
          <ac:chgData name="Rautaporras Petteri" userId="d9004aa4-7491-43fa-b04f-4f6e300df2fa" providerId="ADAL" clId="{EF2E8D5A-BFC8-4880-AFEB-1BC62E57649F}" dt="2021-04-26T12:47:23.298" v="211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EF2E8D5A-BFC8-4880-AFEB-1BC62E57649F}" dt="2021-04-26T12:47:12.291" v="207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44.097" v="222" actId="47"/>
        <pc:sldMkLst>
          <pc:docMk/>
          <pc:sldMk cId="37404522" sldId="1119"/>
        </pc:sldMkLst>
        <pc:graphicFrameChg chg="mod">
          <ac:chgData name="Rautaporras Petteri" userId="d9004aa4-7491-43fa-b04f-4f6e300df2fa" providerId="ADAL" clId="{EF2E8D5A-BFC8-4880-AFEB-1BC62E57649F}" dt="2021-04-26T12:59:44.065" v="221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0:15.793" v="224" actId="47"/>
        <pc:sldMkLst>
          <pc:docMk/>
          <pc:sldMk cId="1038765052" sldId="1123"/>
        </pc:sldMkLst>
      </pc:sldChg>
      <pc:sldChg chg="del">
        <pc:chgData name="Rautaporras Petteri" userId="d9004aa4-7491-43fa-b04f-4f6e300df2fa" providerId="ADAL" clId="{EF2E8D5A-BFC8-4880-AFEB-1BC62E57649F}" dt="2021-04-26T13:01:26.640" v="226" actId="47"/>
        <pc:sldMkLst>
          <pc:docMk/>
          <pc:sldMk cId="2832050897" sldId="1124"/>
        </pc:sldMkLst>
      </pc:sldChg>
      <pc:sldChg chg="del">
        <pc:chgData name="Rautaporras Petteri" userId="d9004aa4-7491-43fa-b04f-4f6e300df2fa" providerId="ADAL" clId="{EF2E8D5A-BFC8-4880-AFEB-1BC62E57649F}" dt="2021-04-26T13:01:56.904" v="230" actId="47"/>
        <pc:sldMkLst>
          <pc:docMk/>
          <pc:sldMk cId="1533151879" sldId="1125"/>
        </pc:sldMkLst>
      </pc:sldChg>
      <pc:sldChg chg="modSp mod">
        <pc:chgData name="Rautaporras Petteri" userId="d9004aa4-7491-43fa-b04f-4f6e300df2fa" providerId="ADAL" clId="{EF2E8D5A-BFC8-4880-AFEB-1BC62E57649F}" dt="2021-04-28T06:02:20.395" v="3053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EF2E8D5A-BFC8-4880-AFEB-1BC62E57649F}" dt="2021-04-28T06:02:20.395" v="3053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EF2E8D5A-BFC8-4880-AFEB-1BC62E57649F}" dt="2021-04-27T10:51:09.905" v="2558" actId="255"/>
        <pc:sldMkLst>
          <pc:docMk/>
          <pc:sldMk cId="1005875025" sldId="2076137431"/>
        </pc:sldMkLst>
        <pc:spChg chg="mod">
          <ac:chgData name="Rautaporras Petteri" userId="d9004aa4-7491-43fa-b04f-4f6e300df2fa" providerId="ADAL" clId="{EF2E8D5A-BFC8-4880-AFEB-1BC62E57649F}" dt="2021-04-27T10:51:09.905" v="2558" actId="255"/>
          <ac:spMkLst>
            <pc:docMk/>
            <pc:sldMk cId="1005875025" sldId="2076137431"/>
            <ac:spMk id="2" creationId="{1EA16522-6D7C-4EC7-AF1E-1A8A6FD7091A}"/>
          </ac:spMkLst>
        </pc:spChg>
        <pc:spChg chg="mod">
          <ac:chgData name="Rautaporras Petteri" userId="d9004aa4-7491-43fa-b04f-4f6e300df2fa" providerId="ADAL" clId="{EF2E8D5A-BFC8-4880-AFEB-1BC62E57649F}" dt="2021-04-26T12:32:10.039" v="27" actId="1076"/>
          <ac:spMkLst>
            <pc:docMk/>
            <pc:sldMk cId="1005875025" sldId="2076137431"/>
            <ac:spMk id="6" creationId="{363381DA-856B-4FE0-88EC-1D58A808626C}"/>
          </ac:spMkLst>
        </pc:spChg>
        <pc:spChg chg="mod">
          <ac:chgData name="Rautaporras Petteri" userId="d9004aa4-7491-43fa-b04f-4f6e300df2fa" providerId="ADAL" clId="{EF2E8D5A-BFC8-4880-AFEB-1BC62E57649F}" dt="2021-04-26T12:32:22.688" v="38" actId="20577"/>
          <ac:spMkLst>
            <pc:docMk/>
            <pc:sldMk cId="1005875025" sldId="2076137431"/>
            <ac:spMk id="7" creationId="{E5D8414E-05B2-45E8-B1A5-433C94DBAC85}"/>
          </ac:spMkLst>
        </pc:spChg>
        <pc:picChg chg="del">
          <ac:chgData name="Rautaporras Petteri" userId="d9004aa4-7491-43fa-b04f-4f6e300df2fa" providerId="ADAL" clId="{EF2E8D5A-BFC8-4880-AFEB-1BC62E57649F}" dt="2021-04-26T12:16:57.310" v="5" actId="478"/>
          <ac:picMkLst>
            <pc:docMk/>
            <pc:sldMk cId="1005875025" sldId="2076137431"/>
            <ac:picMk id="8" creationId="{59382AD7-337A-46FD-BF8C-31C8662EEECB}"/>
          </ac:picMkLst>
        </pc:picChg>
        <pc:picChg chg="add del mod">
          <ac:chgData name="Rautaporras Petteri" userId="d9004aa4-7491-43fa-b04f-4f6e300df2fa" providerId="ADAL" clId="{EF2E8D5A-BFC8-4880-AFEB-1BC62E57649F}" dt="2021-04-26T12:17:24.314" v="9" actId="478"/>
          <ac:picMkLst>
            <pc:docMk/>
            <pc:sldMk cId="1005875025" sldId="2076137431"/>
            <ac:picMk id="10" creationId="{641C5B66-3413-4C62-ACD3-869B76802B5D}"/>
          </ac:picMkLst>
        </pc:picChg>
        <pc:picChg chg="add mod">
          <ac:chgData name="Rautaporras Petteri" userId="d9004aa4-7491-43fa-b04f-4f6e300df2fa" providerId="ADAL" clId="{EF2E8D5A-BFC8-4880-AFEB-1BC62E57649F}" dt="2021-04-26T12:32:06.975" v="26" actId="1076"/>
          <ac:picMkLst>
            <pc:docMk/>
            <pc:sldMk cId="1005875025" sldId="2076137431"/>
            <ac:picMk id="12" creationId="{7D501E70-F242-4AD9-91F8-56C1178E0407}"/>
          </ac:picMkLst>
        </pc:picChg>
      </pc:sldChg>
      <pc:sldChg chg="add del">
        <pc:chgData name="Rautaporras Petteri" userId="d9004aa4-7491-43fa-b04f-4f6e300df2fa" providerId="ADAL" clId="{EF2E8D5A-BFC8-4880-AFEB-1BC62E57649F}" dt="2021-04-26T12:59:20.734" v="215" actId="47"/>
        <pc:sldMkLst>
          <pc:docMk/>
          <pc:sldMk cId="2192367370" sldId="2076137432"/>
        </pc:sldMkLst>
      </pc:sldChg>
      <pc:sldChg chg="modSp add mod">
        <pc:chgData name="Rautaporras Petteri" userId="d9004aa4-7491-43fa-b04f-4f6e300df2fa" providerId="ADAL" clId="{EF2E8D5A-BFC8-4880-AFEB-1BC62E57649F}" dt="2021-04-27T19:22:23.652" v="2709" actId="20577"/>
        <pc:sldMkLst>
          <pc:docMk/>
          <pc:sldMk cId="743890610" sldId="2076137433"/>
        </pc:sldMkLst>
        <pc:spChg chg="mod">
          <ac:chgData name="Rautaporras Petteri" userId="d9004aa4-7491-43fa-b04f-4f6e300df2fa" providerId="ADAL" clId="{EF2E8D5A-BFC8-4880-AFEB-1BC62E57649F}" dt="2021-04-27T19:22:23.652" v="2709" actId="20577"/>
          <ac:spMkLst>
            <pc:docMk/>
            <pc:sldMk cId="743890610" sldId="2076137433"/>
            <ac:spMk id="7" creationId="{00000000-0000-0000-0000-000000000000}"/>
          </ac:spMkLst>
        </pc:spChg>
      </pc:sldChg>
      <pc:sldChg chg="add del">
        <pc:chgData name="Rautaporras Petteri" userId="d9004aa4-7491-43fa-b04f-4f6e300df2fa" providerId="ADAL" clId="{EF2E8D5A-BFC8-4880-AFEB-1BC62E57649F}" dt="2021-04-27T05:02:12.647" v="338" actId="47"/>
        <pc:sldMkLst>
          <pc:docMk/>
          <pc:sldMk cId="4236986069" sldId="2076137434"/>
        </pc:sldMkLst>
      </pc:sldChg>
      <pc:sldChg chg="add">
        <pc:chgData name="Rautaporras Petteri" userId="d9004aa4-7491-43fa-b04f-4f6e300df2fa" providerId="ADAL" clId="{EF2E8D5A-BFC8-4880-AFEB-1BC62E57649F}" dt="2021-04-26T13:02:18.016" v="233"/>
        <pc:sldMkLst>
          <pc:docMk/>
          <pc:sldMk cId="3005809879" sldId="2076137435"/>
        </pc:sldMkLst>
      </pc:sldChg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800762062" sldId="2076137436"/>
        </pc:sldMkLst>
      </pc:sldChg>
      <pc:sldChg chg="modSp new mod">
        <pc:chgData name="Rautaporras Petteri" userId="d9004aa4-7491-43fa-b04f-4f6e300df2fa" providerId="ADAL" clId="{EF2E8D5A-BFC8-4880-AFEB-1BC62E57649F}" dt="2021-04-27T13:00:23.661" v="2707" actId="20577"/>
        <pc:sldMkLst>
          <pc:docMk/>
          <pc:sldMk cId="858822830" sldId="2076137437"/>
        </pc:sldMkLst>
        <pc:spChg chg="mod">
          <ac:chgData name="Rautaporras Petteri" userId="d9004aa4-7491-43fa-b04f-4f6e300df2fa" providerId="ADAL" clId="{EF2E8D5A-BFC8-4880-AFEB-1BC62E57649F}" dt="2021-04-27T05:24:48.092" v="1920" actId="12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EF2E8D5A-BFC8-4880-AFEB-1BC62E57649F}" dt="2021-04-27T13:00:23.661" v="2707" actId="20577"/>
          <ac:spMkLst>
            <pc:docMk/>
            <pc:sldMk cId="858822830" sldId="2076137437"/>
            <ac:spMk id="6" creationId="{26680B02-E3ED-48E7-BF93-F964DC93B53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79156077113516332"/>
          <c:y val="6.094709290890661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10:$A$62</c:f>
              <c:strCache>
                <c:ptCount val="50"/>
                <c:pt idx="0">
                  <c:v>09(10)</c:v>
                </c:pt>
                <c:pt idx="1">
                  <c:v>10(1)</c:v>
                </c:pt>
                <c:pt idx="2">
                  <c:v>10(4)</c:v>
                </c:pt>
                <c:pt idx="3">
                  <c:v>10(7)</c:v>
                </c:pt>
                <c:pt idx="4">
                  <c:v>10(10)</c:v>
                </c:pt>
                <c:pt idx="5">
                  <c:v>11(1)</c:v>
                </c:pt>
                <c:pt idx="6">
                  <c:v>11(4)</c:v>
                </c:pt>
                <c:pt idx="7">
                  <c:v>11(7)</c:v>
                </c:pt>
                <c:pt idx="8">
                  <c:v>11(10)</c:v>
                </c:pt>
                <c:pt idx="9">
                  <c:v>12(1)</c:v>
                </c:pt>
                <c:pt idx="10">
                  <c:v>12(4)</c:v>
                </c:pt>
                <c:pt idx="11">
                  <c:v>12(7)</c:v>
                </c:pt>
                <c:pt idx="12">
                  <c:v>12(10)</c:v>
                </c:pt>
                <c:pt idx="13">
                  <c:v>13(1)</c:v>
                </c:pt>
                <c:pt idx="14">
                  <c:v>13(4)</c:v>
                </c:pt>
                <c:pt idx="15">
                  <c:v>13(7)</c:v>
                </c:pt>
                <c:pt idx="16">
                  <c:v>13(10)</c:v>
                </c:pt>
                <c:pt idx="17">
                  <c:v>14(1)</c:v>
                </c:pt>
                <c:pt idx="18">
                  <c:v>14(4)</c:v>
                </c:pt>
                <c:pt idx="19">
                  <c:v>14(7)</c:v>
                </c:pt>
                <c:pt idx="20">
                  <c:v>14(10)</c:v>
                </c:pt>
                <c:pt idx="21">
                  <c:v>15(1)</c:v>
                </c:pt>
                <c:pt idx="22">
                  <c:v>15(4)</c:v>
                </c:pt>
                <c:pt idx="23">
                  <c:v>15(7)</c:v>
                </c:pt>
                <c:pt idx="24">
                  <c:v>15(10)</c:v>
                </c:pt>
                <c:pt idx="25">
                  <c:v>16(1)</c:v>
                </c:pt>
                <c:pt idx="26">
                  <c:v>16(4)</c:v>
                </c:pt>
                <c:pt idx="27">
                  <c:v>16(7)</c:v>
                </c:pt>
                <c:pt idx="28">
                  <c:v>16(10)</c:v>
                </c:pt>
                <c:pt idx="29">
                  <c:v>17(1)</c:v>
                </c:pt>
                <c:pt idx="30">
                  <c:v>17(4)</c:v>
                </c:pt>
                <c:pt idx="31">
                  <c:v>17(7)</c:v>
                </c:pt>
                <c:pt idx="32">
                  <c:v>17(10)</c:v>
                </c:pt>
                <c:pt idx="33">
                  <c:v>18(1)</c:v>
                </c:pt>
                <c:pt idx="34">
                  <c:v>18(4)</c:v>
                </c:pt>
                <c:pt idx="35">
                  <c:v>18(7)</c:v>
                </c:pt>
                <c:pt idx="36">
                  <c:v>18(10)</c:v>
                </c:pt>
                <c:pt idx="37">
                  <c:v>19(1)</c:v>
                </c:pt>
                <c:pt idx="38">
                  <c:v>19(4)</c:v>
                </c:pt>
                <c:pt idx="39">
                  <c:v>19(7)</c:v>
                </c:pt>
                <c:pt idx="40">
                  <c:v>19(10)</c:v>
                </c:pt>
                <c:pt idx="41">
                  <c:v>20(1)</c:v>
                </c:pt>
                <c:pt idx="42">
                  <c:v>20(4)</c:v>
                </c:pt>
                <c:pt idx="43">
                  <c:v>20(07)</c:v>
                </c:pt>
                <c:pt idx="44">
                  <c:v>20(10)</c:v>
                </c:pt>
                <c:pt idx="45">
                  <c:v>21(1)</c:v>
                </c:pt>
                <c:pt idx="46">
                  <c:v>21(4)</c:v>
                </c:pt>
                <c:pt idx="47">
                  <c:v>21(7)</c:v>
                </c:pt>
                <c:pt idx="48">
                  <c:v>21(10)</c:v>
                </c:pt>
                <c:pt idx="49">
                  <c:v>22(1)</c:v>
                </c:pt>
              </c:strCache>
            </c:strRef>
          </c:cat>
          <c:val>
            <c:numRef>
              <c:f>Taul1!$B$10:$B$62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33</c:v>
                </c:pt>
                <c:pt idx="3">
                  <c:v>27</c:v>
                </c:pt>
                <c:pt idx="4">
                  <c:v>19</c:v>
                </c:pt>
                <c:pt idx="5">
                  <c:v>26</c:v>
                </c:pt>
                <c:pt idx="6">
                  <c:v>30</c:v>
                </c:pt>
                <c:pt idx="7">
                  <c:v>18</c:v>
                </c:pt>
                <c:pt idx="8">
                  <c:v>-5</c:v>
                </c:pt>
                <c:pt idx="9">
                  <c:v>-5</c:v>
                </c:pt>
                <c:pt idx="10">
                  <c:v>8</c:v>
                </c:pt>
                <c:pt idx="11">
                  <c:v>-4</c:v>
                </c:pt>
                <c:pt idx="12">
                  <c:v>-24</c:v>
                </c:pt>
                <c:pt idx="13">
                  <c:v>-11</c:v>
                </c:pt>
                <c:pt idx="14">
                  <c:v>-2</c:v>
                </c:pt>
                <c:pt idx="15">
                  <c:v>-11</c:v>
                </c:pt>
                <c:pt idx="16">
                  <c:v>-13</c:v>
                </c:pt>
                <c:pt idx="17">
                  <c:v>5</c:v>
                </c:pt>
                <c:pt idx="18">
                  <c:v>15</c:v>
                </c:pt>
                <c:pt idx="19">
                  <c:v>3</c:v>
                </c:pt>
                <c:pt idx="20">
                  <c:v>-12</c:v>
                </c:pt>
                <c:pt idx="21">
                  <c:v>-4</c:v>
                </c:pt>
                <c:pt idx="22">
                  <c:v>10</c:v>
                </c:pt>
                <c:pt idx="23">
                  <c:v>1</c:v>
                </c:pt>
                <c:pt idx="24">
                  <c:v>-3</c:v>
                </c:pt>
                <c:pt idx="25">
                  <c:v>1</c:v>
                </c:pt>
                <c:pt idx="26">
                  <c:v>18</c:v>
                </c:pt>
                <c:pt idx="27">
                  <c:v>4</c:v>
                </c:pt>
                <c:pt idx="28">
                  <c:v>9</c:v>
                </c:pt>
                <c:pt idx="29">
                  <c:v>14</c:v>
                </c:pt>
                <c:pt idx="30">
                  <c:v>24</c:v>
                </c:pt>
                <c:pt idx="31">
                  <c:v>24</c:v>
                </c:pt>
                <c:pt idx="32">
                  <c:v>21.45</c:v>
                </c:pt>
                <c:pt idx="33">
                  <c:v>26.4</c:v>
                </c:pt>
                <c:pt idx="34">
                  <c:v>24.3</c:v>
                </c:pt>
                <c:pt idx="35">
                  <c:v>11.46</c:v>
                </c:pt>
                <c:pt idx="36">
                  <c:v>0.45</c:v>
                </c:pt>
                <c:pt idx="37">
                  <c:v>4.71</c:v>
                </c:pt>
                <c:pt idx="38">
                  <c:v>12.19</c:v>
                </c:pt>
                <c:pt idx="39">
                  <c:v>-2.73</c:v>
                </c:pt>
                <c:pt idx="40">
                  <c:v>-16.66</c:v>
                </c:pt>
                <c:pt idx="41">
                  <c:v>-6.75</c:v>
                </c:pt>
                <c:pt idx="42">
                  <c:v>-41.7</c:v>
                </c:pt>
                <c:pt idx="43">
                  <c:v>-43.66</c:v>
                </c:pt>
                <c:pt idx="44">
                  <c:v>-16.29</c:v>
                </c:pt>
                <c:pt idx="45">
                  <c:v>7.89</c:v>
                </c:pt>
                <c:pt idx="46">
                  <c:v>26.61</c:v>
                </c:pt>
                <c:pt idx="47">
                  <c:v>29.11</c:v>
                </c:pt>
                <c:pt idx="48">
                  <c:v>21.43</c:v>
                </c:pt>
                <c:pt idx="49">
                  <c:v>17.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6761.1</c:v>
                </c:pt>
                <c:pt idx="2">
                  <c:v>7017.59</c:v>
                </c:pt>
                <c:pt idx="3">
                  <c:v>6864.4</c:v>
                </c:pt>
                <c:pt idx="4">
                  <c:v>8976.74</c:v>
                </c:pt>
                <c:pt idx="5">
                  <c:v>8250.92</c:v>
                </c:pt>
                <c:pt idx="6">
                  <c:v>8590.33</c:v>
                </c:pt>
                <c:pt idx="7">
                  <c:v>7518.46</c:v>
                </c:pt>
                <c:pt idx="8">
                  <c:v>9262.65</c:v>
                </c:pt>
                <c:pt idx="9">
                  <c:v>8074.84</c:v>
                </c:pt>
                <c:pt idx="10">
                  <c:v>8416.39</c:v>
                </c:pt>
                <c:pt idx="11">
                  <c:v>7463.97</c:v>
                </c:pt>
                <c:pt idx="12">
                  <c:v>8721.91</c:v>
                </c:pt>
                <c:pt idx="13">
                  <c:v>6901.77</c:v>
                </c:pt>
                <c:pt idx="14">
                  <c:v>7367.04</c:v>
                </c:pt>
                <c:pt idx="15">
                  <c:v>6680.58</c:v>
                </c:pt>
                <c:pt idx="16">
                  <c:v>7466.92</c:v>
                </c:pt>
                <c:pt idx="17">
                  <c:v>7465.12</c:v>
                </c:pt>
                <c:pt idx="18">
                  <c:v>7731.54</c:v>
                </c:pt>
                <c:pt idx="19">
                  <c:v>9090.57</c:v>
                </c:pt>
                <c:pt idx="20">
                  <c:v>7854.18</c:v>
                </c:pt>
                <c:pt idx="21">
                  <c:v>6778.27</c:v>
                </c:pt>
                <c:pt idx="22">
                  <c:v>8775.16</c:v>
                </c:pt>
                <c:pt idx="23">
                  <c:v>7105.56</c:v>
                </c:pt>
                <c:pt idx="24">
                  <c:v>8020.56</c:v>
                </c:pt>
                <c:pt idx="25">
                  <c:v>6865.44</c:v>
                </c:pt>
                <c:pt idx="26">
                  <c:v>6536.6</c:v>
                </c:pt>
                <c:pt idx="27">
                  <c:v>6521.51</c:v>
                </c:pt>
                <c:pt idx="28">
                  <c:v>8050.55</c:v>
                </c:pt>
                <c:pt idx="29">
                  <c:v>7672.04</c:v>
                </c:pt>
                <c:pt idx="30">
                  <c:v>9651.7999999999993</c:v>
                </c:pt>
                <c:pt idx="31">
                  <c:v>7295.67</c:v>
                </c:pt>
                <c:pt idx="32">
                  <c:v>11279.27</c:v>
                </c:pt>
                <c:pt idx="33">
                  <c:v>9142.41</c:v>
                </c:pt>
                <c:pt idx="34">
                  <c:v>8865.61</c:v>
                </c:pt>
                <c:pt idx="35">
                  <c:v>8922.25</c:v>
                </c:pt>
                <c:pt idx="36">
                  <c:v>10159.92</c:v>
                </c:pt>
                <c:pt idx="37">
                  <c:v>10167.620000000001</c:v>
                </c:pt>
                <c:pt idx="38">
                  <c:v>9732.43</c:v>
                </c:pt>
                <c:pt idx="39">
                  <c:v>10052.52</c:v>
                </c:pt>
                <c:pt idx="40">
                  <c:v>11497.4</c:v>
                </c:pt>
                <c:pt idx="41">
                  <c:v>9036.75</c:v>
                </c:pt>
                <c:pt idx="42">
                  <c:v>8331.76</c:v>
                </c:pt>
                <c:pt idx="43">
                  <c:v>8826.52</c:v>
                </c:pt>
                <c:pt idx="44">
                  <c:v>13299.74</c:v>
                </c:pt>
                <c:pt idx="45">
                  <c:v>9475.7800000000007</c:v>
                </c:pt>
                <c:pt idx="46">
                  <c:v>10097.879999999999</c:v>
                </c:pt>
                <c:pt idx="47">
                  <c:v>9907.09</c:v>
                </c:pt>
                <c:pt idx="48">
                  <c:v>1388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5120.9799999999996</c:v>
                </c:pt>
                <c:pt idx="2">
                  <c:v>5514.68</c:v>
                </c:pt>
                <c:pt idx="3">
                  <c:v>5416.99</c:v>
                </c:pt>
                <c:pt idx="4">
                  <c:v>6761.14</c:v>
                </c:pt>
                <c:pt idx="5">
                  <c:v>5857.84</c:v>
                </c:pt>
                <c:pt idx="6">
                  <c:v>6618.77</c:v>
                </c:pt>
                <c:pt idx="7">
                  <c:v>5714.72</c:v>
                </c:pt>
                <c:pt idx="8">
                  <c:v>7088.61</c:v>
                </c:pt>
                <c:pt idx="9">
                  <c:v>6060.78</c:v>
                </c:pt>
                <c:pt idx="10">
                  <c:v>6506.17</c:v>
                </c:pt>
                <c:pt idx="11">
                  <c:v>5969.33</c:v>
                </c:pt>
                <c:pt idx="12">
                  <c:v>6985.49</c:v>
                </c:pt>
                <c:pt idx="13">
                  <c:v>5152.34</c:v>
                </c:pt>
                <c:pt idx="14">
                  <c:v>5496.7</c:v>
                </c:pt>
                <c:pt idx="15">
                  <c:v>5197.8999999999996</c:v>
                </c:pt>
                <c:pt idx="16">
                  <c:v>5811.67</c:v>
                </c:pt>
                <c:pt idx="17">
                  <c:v>5414.89</c:v>
                </c:pt>
                <c:pt idx="18">
                  <c:v>5606.86</c:v>
                </c:pt>
                <c:pt idx="19">
                  <c:v>6555.63</c:v>
                </c:pt>
                <c:pt idx="20">
                  <c:v>5875.53</c:v>
                </c:pt>
                <c:pt idx="21">
                  <c:v>4792.1400000000003</c:v>
                </c:pt>
                <c:pt idx="22">
                  <c:v>6382.2</c:v>
                </c:pt>
                <c:pt idx="23">
                  <c:v>5453.24</c:v>
                </c:pt>
                <c:pt idx="24">
                  <c:v>5721.89</c:v>
                </c:pt>
                <c:pt idx="25">
                  <c:v>4770.55</c:v>
                </c:pt>
                <c:pt idx="26">
                  <c:v>4577.08</c:v>
                </c:pt>
                <c:pt idx="27">
                  <c:v>4669.82</c:v>
                </c:pt>
                <c:pt idx="28">
                  <c:v>5609.07</c:v>
                </c:pt>
                <c:pt idx="29">
                  <c:v>5642.25</c:v>
                </c:pt>
                <c:pt idx="30">
                  <c:v>7489.04</c:v>
                </c:pt>
                <c:pt idx="31">
                  <c:v>5209.4799999999996</c:v>
                </c:pt>
                <c:pt idx="32">
                  <c:v>8290.24</c:v>
                </c:pt>
                <c:pt idx="33">
                  <c:v>6015.83</c:v>
                </c:pt>
                <c:pt idx="34">
                  <c:v>6369.21</c:v>
                </c:pt>
                <c:pt idx="35">
                  <c:v>6649.34</c:v>
                </c:pt>
                <c:pt idx="36">
                  <c:v>7334.8</c:v>
                </c:pt>
                <c:pt idx="37">
                  <c:v>7221.83</c:v>
                </c:pt>
                <c:pt idx="38">
                  <c:v>6726.81</c:v>
                </c:pt>
                <c:pt idx="39">
                  <c:v>7243.89</c:v>
                </c:pt>
                <c:pt idx="40">
                  <c:v>8825.1299999999992</c:v>
                </c:pt>
                <c:pt idx="41">
                  <c:v>6389.09</c:v>
                </c:pt>
                <c:pt idx="42">
                  <c:v>5829.93</c:v>
                </c:pt>
                <c:pt idx="43">
                  <c:v>6500.53</c:v>
                </c:pt>
                <c:pt idx="44">
                  <c:v>9720.5400000000009</c:v>
                </c:pt>
                <c:pt idx="45">
                  <c:v>6804.11</c:v>
                </c:pt>
                <c:pt idx="46">
                  <c:v>7831.31</c:v>
                </c:pt>
                <c:pt idx="47">
                  <c:v>7932.32</c:v>
                </c:pt>
                <c:pt idx="48">
                  <c:v>11032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1604.1</c:v>
                </c:pt>
                <c:pt idx="2">
                  <c:v>1465.35</c:v>
                </c:pt>
                <c:pt idx="3">
                  <c:v>1405.9</c:v>
                </c:pt>
                <c:pt idx="4">
                  <c:v>2147.34</c:v>
                </c:pt>
                <c:pt idx="5">
                  <c:v>2316.84</c:v>
                </c:pt>
                <c:pt idx="6">
                  <c:v>1910.48</c:v>
                </c:pt>
                <c:pt idx="7">
                  <c:v>1732.65</c:v>
                </c:pt>
                <c:pt idx="8">
                  <c:v>2088.59</c:v>
                </c:pt>
                <c:pt idx="9">
                  <c:v>1923.24</c:v>
                </c:pt>
                <c:pt idx="10">
                  <c:v>1824.87</c:v>
                </c:pt>
                <c:pt idx="11">
                  <c:v>1433.84</c:v>
                </c:pt>
                <c:pt idx="12">
                  <c:v>1665.93</c:v>
                </c:pt>
                <c:pt idx="13">
                  <c:v>1667.64</c:v>
                </c:pt>
                <c:pt idx="14">
                  <c:v>1798.81</c:v>
                </c:pt>
                <c:pt idx="15">
                  <c:v>1413.96</c:v>
                </c:pt>
                <c:pt idx="16">
                  <c:v>1570.6</c:v>
                </c:pt>
                <c:pt idx="17">
                  <c:v>1961.29</c:v>
                </c:pt>
                <c:pt idx="18">
                  <c:v>2042.46</c:v>
                </c:pt>
                <c:pt idx="19">
                  <c:v>2471.5700000000002</c:v>
                </c:pt>
                <c:pt idx="20">
                  <c:v>1871.48</c:v>
                </c:pt>
                <c:pt idx="21">
                  <c:v>1889.63</c:v>
                </c:pt>
                <c:pt idx="22">
                  <c:v>2289.48</c:v>
                </c:pt>
                <c:pt idx="23">
                  <c:v>1574.75</c:v>
                </c:pt>
                <c:pt idx="24">
                  <c:v>2205.87</c:v>
                </c:pt>
                <c:pt idx="25">
                  <c:v>1989.73</c:v>
                </c:pt>
                <c:pt idx="26">
                  <c:v>1853.89</c:v>
                </c:pt>
                <c:pt idx="27">
                  <c:v>1761.87</c:v>
                </c:pt>
                <c:pt idx="28">
                  <c:v>2334.12</c:v>
                </c:pt>
                <c:pt idx="29">
                  <c:v>1911.41</c:v>
                </c:pt>
                <c:pt idx="30">
                  <c:v>2043.44</c:v>
                </c:pt>
                <c:pt idx="31">
                  <c:v>1988.99</c:v>
                </c:pt>
                <c:pt idx="32">
                  <c:v>2850.58</c:v>
                </c:pt>
                <c:pt idx="33">
                  <c:v>2931.4</c:v>
                </c:pt>
                <c:pt idx="34">
                  <c:v>2319.7800000000002</c:v>
                </c:pt>
                <c:pt idx="35">
                  <c:v>2132.5100000000002</c:v>
                </c:pt>
                <c:pt idx="36">
                  <c:v>2639.72</c:v>
                </c:pt>
                <c:pt idx="37">
                  <c:v>2762.82</c:v>
                </c:pt>
                <c:pt idx="38">
                  <c:v>2846.94</c:v>
                </c:pt>
                <c:pt idx="39">
                  <c:v>2680.45</c:v>
                </c:pt>
                <c:pt idx="40">
                  <c:v>2490.9</c:v>
                </c:pt>
                <c:pt idx="41">
                  <c:v>2458.7600000000002</c:v>
                </c:pt>
                <c:pt idx="42">
                  <c:v>2318.21</c:v>
                </c:pt>
                <c:pt idx="43">
                  <c:v>2171.9</c:v>
                </c:pt>
                <c:pt idx="44">
                  <c:v>3379.28</c:v>
                </c:pt>
                <c:pt idx="45">
                  <c:v>2469.69</c:v>
                </c:pt>
                <c:pt idx="46">
                  <c:v>2045.38</c:v>
                </c:pt>
                <c:pt idx="47">
                  <c:v>1757.54</c:v>
                </c:pt>
                <c:pt idx="48">
                  <c:v>2610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5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2213.6799999999998</c:v>
                </c:pt>
                <c:pt idx="2">
                  <c:v>2714.98</c:v>
                </c:pt>
                <c:pt idx="3">
                  <c:v>2463.21</c:v>
                </c:pt>
                <c:pt idx="4">
                  <c:v>3299.44</c:v>
                </c:pt>
                <c:pt idx="5">
                  <c:v>3507.73</c:v>
                </c:pt>
                <c:pt idx="6">
                  <c:v>4437.9799999999996</c:v>
                </c:pt>
                <c:pt idx="7">
                  <c:v>3326.62</c:v>
                </c:pt>
                <c:pt idx="8">
                  <c:v>3858.87</c:v>
                </c:pt>
                <c:pt idx="9">
                  <c:v>3691.54</c:v>
                </c:pt>
                <c:pt idx="10">
                  <c:v>3535.23</c:v>
                </c:pt>
                <c:pt idx="11">
                  <c:v>3226.75</c:v>
                </c:pt>
                <c:pt idx="12">
                  <c:v>3959.75</c:v>
                </c:pt>
                <c:pt idx="13">
                  <c:v>3225.92</c:v>
                </c:pt>
                <c:pt idx="14">
                  <c:v>3513.99</c:v>
                </c:pt>
                <c:pt idx="15">
                  <c:v>3241.81</c:v>
                </c:pt>
                <c:pt idx="16">
                  <c:v>3245.79</c:v>
                </c:pt>
                <c:pt idx="17">
                  <c:v>3958.37</c:v>
                </c:pt>
                <c:pt idx="18">
                  <c:v>4287.05</c:v>
                </c:pt>
                <c:pt idx="19">
                  <c:v>4990.5</c:v>
                </c:pt>
                <c:pt idx="20">
                  <c:v>4005.4</c:v>
                </c:pt>
                <c:pt idx="21">
                  <c:v>3601.53</c:v>
                </c:pt>
                <c:pt idx="22">
                  <c:v>5617.23</c:v>
                </c:pt>
                <c:pt idx="23">
                  <c:v>4269.5200000000004</c:v>
                </c:pt>
                <c:pt idx="24">
                  <c:v>4028.07</c:v>
                </c:pt>
                <c:pt idx="25">
                  <c:v>3668.36</c:v>
                </c:pt>
                <c:pt idx="26">
                  <c:v>3410.39</c:v>
                </c:pt>
                <c:pt idx="27">
                  <c:v>3256.24</c:v>
                </c:pt>
                <c:pt idx="28">
                  <c:v>4315.96</c:v>
                </c:pt>
                <c:pt idx="29">
                  <c:v>4273.37</c:v>
                </c:pt>
                <c:pt idx="30">
                  <c:v>6076.62</c:v>
                </c:pt>
                <c:pt idx="31">
                  <c:v>3949.89</c:v>
                </c:pt>
                <c:pt idx="32">
                  <c:v>7378.65</c:v>
                </c:pt>
                <c:pt idx="33">
                  <c:v>5000.8900000000003</c:v>
                </c:pt>
                <c:pt idx="34">
                  <c:v>4967.05</c:v>
                </c:pt>
                <c:pt idx="35">
                  <c:v>5046.67</c:v>
                </c:pt>
                <c:pt idx="36">
                  <c:v>5742.67</c:v>
                </c:pt>
                <c:pt idx="37">
                  <c:v>5645.86</c:v>
                </c:pt>
                <c:pt idx="38">
                  <c:v>5138.47</c:v>
                </c:pt>
                <c:pt idx="39">
                  <c:v>4970.2</c:v>
                </c:pt>
                <c:pt idx="40">
                  <c:v>5832.07</c:v>
                </c:pt>
                <c:pt idx="41">
                  <c:v>4555.59</c:v>
                </c:pt>
                <c:pt idx="42">
                  <c:v>3480.62</c:v>
                </c:pt>
                <c:pt idx="43">
                  <c:v>3946.82</c:v>
                </c:pt>
                <c:pt idx="44">
                  <c:v>5878.47</c:v>
                </c:pt>
                <c:pt idx="45">
                  <c:v>4843.54</c:v>
                </c:pt>
                <c:pt idx="46">
                  <c:v>5205.29</c:v>
                </c:pt>
                <c:pt idx="47">
                  <c:v>4944.16</c:v>
                </c:pt>
                <c:pt idx="48">
                  <c:v>6421.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1624.44</c:v>
                </c:pt>
                <c:pt idx="2">
                  <c:v>1993.73</c:v>
                </c:pt>
                <c:pt idx="3">
                  <c:v>1947.13</c:v>
                </c:pt>
                <c:pt idx="4">
                  <c:v>2307.08</c:v>
                </c:pt>
                <c:pt idx="5">
                  <c:v>2436.71</c:v>
                </c:pt>
                <c:pt idx="6">
                  <c:v>3306.5</c:v>
                </c:pt>
                <c:pt idx="7">
                  <c:v>2525.91</c:v>
                </c:pt>
                <c:pt idx="8">
                  <c:v>2904.01</c:v>
                </c:pt>
                <c:pt idx="9">
                  <c:v>2734.95</c:v>
                </c:pt>
                <c:pt idx="10">
                  <c:v>2591.39</c:v>
                </c:pt>
                <c:pt idx="11">
                  <c:v>2390.9299999999998</c:v>
                </c:pt>
                <c:pt idx="12">
                  <c:v>3057.5</c:v>
                </c:pt>
                <c:pt idx="13">
                  <c:v>2427.89</c:v>
                </c:pt>
                <c:pt idx="14">
                  <c:v>2481.0500000000002</c:v>
                </c:pt>
                <c:pt idx="15">
                  <c:v>2465.6799999999998</c:v>
                </c:pt>
                <c:pt idx="16">
                  <c:v>2385.8000000000002</c:v>
                </c:pt>
                <c:pt idx="17">
                  <c:v>2825.25</c:v>
                </c:pt>
                <c:pt idx="18">
                  <c:v>2972.1</c:v>
                </c:pt>
                <c:pt idx="19">
                  <c:v>3291.98</c:v>
                </c:pt>
                <c:pt idx="20">
                  <c:v>2920.29</c:v>
                </c:pt>
                <c:pt idx="21">
                  <c:v>2556.81</c:v>
                </c:pt>
                <c:pt idx="22">
                  <c:v>4140.49</c:v>
                </c:pt>
                <c:pt idx="23">
                  <c:v>3435.63</c:v>
                </c:pt>
                <c:pt idx="24">
                  <c:v>2865.27</c:v>
                </c:pt>
                <c:pt idx="25">
                  <c:v>2443.56</c:v>
                </c:pt>
                <c:pt idx="26">
                  <c:v>2299.15</c:v>
                </c:pt>
                <c:pt idx="27">
                  <c:v>2296.1799999999998</c:v>
                </c:pt>
                <c:pt idx="28">
                  <c:v>2903.04</c:v>
                </c:pt>
                <c:pt idx="29">
                  <c:v>3199.46</c:v>
                </c:pt>
                <c:pt idx="30">
                  <c:v>4958.16</c:v>
                </c:pt>
                <c:pt idx="31">
                  <c:v>2964.72</c:v>
                </c:pt>
                <c:pt idx="32">
                  <c:v>5700.41</c:v>
                </c:pt>
                <c:pt idx="33">
                  <c:v>3362.05</c:v>
                </c:pt>
                <c:pt idx="34">
                  <c:v>3773.15</c:v>
                </c:pt>
                <c:pt idx="35">
                  <c:v>3971.5</c:v>
                </c:pt>
                <c:pt idx="36">
                  <c:v>4324.82</c:v>
                </c:pt>
                <c:pt idx="37">
                  <c:v>4120.6499999999996</c:v>
                </c:pt>
                <c:pt idx="38">
                  <c:v>3598.44</c:v>
                </c:pt>
                <c:pt idx="39">
                  <c:v>3322.17</c:v>
                </c:pt>
                <c:pt idx="40">
                  <c:v>4559.3</c:v>
                </c:pt>
                <c:pt idx="41">
                  <c:v>3366.73</c:v>
                </c:pt>
                <c:pt idx="42">
                  <c:v>2299.06</c:v>
                </c:pt>
                <c:pt idx="43">
                  <c:v>2794.97</c:v>
                </c:pt>
                <c:pt idx="44">
                  <c:v>3790.37</c:v>
                </c:pt>
                <c:pt idx="45">
                  <c:v>3667.91</c:v>
                </c:pt>
                <c:pt idx="46">
                  <c:v>4345.84</c:v>
                </c:pt>
                <c:pt idx="47">
                  <c:v>4221.13</c:v>
                </c:pt>
                <c:pt idx="48">
                  <c:v>5452.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589.24</c:v>
                </c:pt>
                <c:pt idx="2">
                  <c:v>721.25</c:v>
                </c:pt>
                <c:pt idx="3">
                  <c:v>516.08000000000004</c:v>
                </c:pt>
                <c:pt idx="4">
                  <c:v>992.36</c:v>
                </c:pt>
                <c:pt idx="5">
                  <c:v>1071.02</c:v>
                </c:pt>
                <c:pt idx="6">
                  <c:v>1131.48</c:v>
                </c:pt>
                <c:pt idx="7">
                  <c:v>800.71</c:v>
                </c:pt>
                <c:pt idx="8">
                  <c:v>954.86</c:v>
                </c:pt>
                <c:pt idx="9">
                  <c:v>956.59</c:v>
                </c:pt>
                <c:pt idx="10">
                  <c:v>943.85</c:v>
                </c:pt>
                <c:pt idx="11">
                  <c:v>835.82</c:v>
                </c:pt>
                <c:pt idx="12">
                  <c:v>902.25</c:v>
                </c:pt>
                <c:pt idx="13">
                  <c:v>798.03</c:v>
                </c:pt>
                <c:pt idx="14">
                  <c:v>1032.94</c:v>
                </c:pt>
                <c:pt idx="15">
                  <c:v>776.13</c:v>
                </c:pt>
                <c:pt idx="16">
                  <c:v>859.99</c:v>
                </c:pt>
                <c:pt idx="17">
                  <c:v>1133.1199999999999</c:v>
                </c:pt>
                <c:pt idx="18">
                  <c:v>1314.95</c:v>
                </c:pt>
                <c:pt idx="19">
                  <c:v>1698.52</c:v>
                </c:pt>
                <c:pt idx="20">
                  <c:v>1085.1099999999999</c:v>
                </c:pt>
                <c:pt idx="21">
                  <c:v>1044.72</c:v>
                </c:pt>
                <c:pt idx="22">
                  <c:v>1476.73</c:v>
                </c:pt>
                <c:pt idx="23">
                  <c:v>833.89</c:v>
                </c:pt>
                <c:pt idx="24">
                  <c:v>1162.81</c:v>
                </c:pt>
                <c:pt idx="25">
                  <c:v>1224.79</c:v>
                </c:pt>
                <c:pt idx="26">
                  <c:v>1111.24</c:v>
                </c:pt>
                <c:pt idx="27">
                  <c:v>960.06</c:v>
                </c:pt>
                <c:pt idx="28">
                  <c:v>1412.93</c:v>
                </c:pt>
                <c:pt idx="29">
                  <c:v>1073.92</c:v>
                </c:pt>
                <c:pt idx="30">
                  <c:v>1118.46</c:v>
                </c:pt>
                <c:pt idx="31">
                  <c:v>985.16</c:v>
                </c:pt>
                <c:pt idx="32">
                  <c:v>1678.24</c:v>
                </c:pt>
                <c:pt idx="33">
                  <c:v>1638.84</c:v>
                </c:pt>
                <c:pt idx="34">
                  <c:v>1193.9000000000001</c:v>
                </c:pt>
                <c:pt idx="35">
                  <c:v>1075.17</c:v>
                </c:pt>
                <c:pt idx="36">
                  <c:v>1417.85</c:v>
                </c:pt>
                <c:pt idx="37">
                  <c:v>1525.21</c:v>
                </c:pt>
                <c:pt idx="38">
                  <c:v>1540.03</c:v>
                </c:pt>
                <c:pt idx="39">
                  <c:v>1648.03</c:v>
                </c:pt>
                <c:pt idx="40">
                  <c:v>1272.77</c:v>
                </c:pt>
                <c:pt idx="41">
                  <c:v>1188.8499999999999</c:v>
                </c:pt>
                <c:pt idx="42">
                  <c:v>1181.55</c:v>
                </c:pt>
                <c:pt idx="43">
                  <c:v>1151.8399999999999</c:v>
                </c:pt>
                <c:pt idx="44">
                  <c:v>2088.1</c:v>
                </c:pt>
                <c:pt idx="45">
                  <c:v>1175.6300000000001</c:v>
                </c:pt>
                <c:pt idx="46">
                  <c:v>859.45</c:v>
                </c:pt>
                <c:pt idx="47">
                  <c:v>723.03</c:v>
                </c:pt>
                <c:pt idx="48">
                  <c:v>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34626304515568E-2"/>
          <c:y val="3.3872934059659576E-2"/>
          <c:w val="0.77234394913663618"/>
          <c:h val="0.88516485812511014"/>
        </c:manualLayout>
      </c:layout>
      <c:areaChart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Kotimaahan </c:v>
                </c:pt>
              </c:strCache>
            </c:strRef>
          </c:tx>
          <c:spPr>
            <a:solidFill>
              <a:schemeClr val="accent2"/>
            </a:solidFill>
            <a:ln w="11167">
              <a:noFill/>
              <a:prstDash val="sysDash"/>
            </a:ln>
          </c:spPr>
          <c:cat>
            <c:strRef>
              <c:f>Sheet1!$A$2:$A$50</c:f>
              <c:strCache>
                <c:ptCount val="46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0">
                  <c:v>1224.5</c:v>
                </c:pt>
                <c:pt idx="1">
                  <c:v>1185</c:v>
                </c:pt>
                <c:pt idx="2">
                  <c:v>1278.0999999999999</c:v>
                </c:pt>
                <c:pt idx="3">
                  <c:v>1110.2</c:v>
                </c:pt>
                <c:pt idx="4">
                  <c:v>1419</c:v>
                </c:pt>
                <c:pt idx="5">
                  <c:v>1774.3</c:v>
                </c:pt>
                <c:pt idx="6">
                  <c:v>1964.6</c:v>
                </c:pt>
                <c:pt idx="7">
                  <c:v>1906.1</c:v>
                </c:pt>
                <c:pt idx="8">
                  <c:v>1784.7</c:v>
                </c:pt>
                <c:pt idx="9">
                  <c:v>1846.8</c:v>
                </c:pt>
                <c:pt idx="10">
                  <c:v>2109.6999999999998</c:v>
                </c:pt>
                <c:pt idx="11">
                  <c:v>1699.7</c:v>
                </c:pt>
                <c:pt idx="12">
                  <c:v>1714.2</c:v>
                </c:pt>
                <c:pt idx="13">
                  <c:v>1501.2</c:v>
                </c:pt>
                <c:pt idx="14">
                  <c:v>1614</c:v>
                </c:pt>
                <c:pt idx="15">
                  <c:v>1627.8</c:v>
                </c:pt>
                <c:pt idx="16">
                  <c:v>1440.6</c:v>
                </c:pt>
                <c:pt idx="17">
                  <c:v>1640.8</c:v>
                </c:pt>
                <c:pt idx="18">
                  <c:v>1731</c:v>
                </c:pt>
                <c:pt idx="19">
                  <c:v>2194.1</c:v>
                </c:pt>
                <c:pt idx="20">
                  <c:v>2269.3000000000002</c:v>
                </c:pt>
                <c:pt idx="21">
                  <c:v>2370.8000000000002</c:v>
                </c:pt>
                <c:pt idx="22">
                  <c:v>2497.6</c:v>
                </c:pt>
                <c:pt idx="23">
                  <c:v>2278.3000000000002</c:v>
                </c:pt>
                <c:pt idx="24">
                  <c:v>2297.5</c:v>
                </c:pt>
                <c:pt idx="25">
                  <c:v>2435.9</c:v>
                </c:pt>
                <c:pt idx="26">
                  <c:v>2340.1</c:v>
                </c:pt>
                <c:pt idx="27">
                  <c:v>2058.1</c:v>
                </c:pt>
                <c:pt idx="28">
                  <c:v>2150.1</c:v>
                </c:pt>
                <c:pt idx="29">
                  <c:v>2141.4</c:v>
                </c:pt>
                <c:pt idx="30">
                  <c:v>2140.9</c:v>
                </c:pt>
                <c:pt idx="31">
                  <c:v>1935.7</c:v>
                </c:pt>
                <c:pt idx="32">
                  <c:v>2151.6</c:v>
                </c:pt>
                <c:pt idx="33">
                  <c:v>2558.1</c:v>
                </c:pt>
                <c:pt idx="34">
                  <c:v>2405.1</c:v>
                </c:pt>
                <c:pt idx="35">
                  <c:v>2376.6</c:v>
                </c:pt>
                <c:pt idx="36">
                  <c:v>2425.3000000000002</c:v>
                </c:pt>
                <c:pt idx="37">
                  <c:v>2613.8000000000002</c:v>
                </c:pt>
                <c:pt idx="38">
                  <c:v>2712.6</c:v>
                </c:pt>
                <c:pt idx="39">
                  <c:v>3168.6</c:v>
                </c:pt>
                <c:pt idx="40">
                  <c:v>3061.9</c:v>
                </c:pt>
                <c:pt idx="41">
                  <c:v>3056.4</c:v>
                </c:pt>
                <c:pt idx="42">
                  <c:v>2973.8</c:v>
                </c:pt>
                <c:pt idx="43">
                  <c:v>2892.1</c:v>
                </c:pt>
                <c:pt idx="44">
                  <c:v>3616.1</c:v>
                </c:pt>
                <c:pt idx="45">
                  <c:v>4228.1000000000004</c:v>
                </c:pt>
                <c:pt idx="46">
                  <c:v>4285.5</c:v>
                </c:pt>
                <c:pt idx="47">
                  <c:v>4226.1000000000004</c:v>
                </c:pt>
                <c:pt idx="48">
                  <c:v>406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D9-48DF-B9E2-392C6345A84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Vientiin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1167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cat>
            <c:strRef>
              <c:f>Sheet1!$A$2:$A$50</c:f>
              <c:strCache>
                <c:ptCount val="46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7392.7</c:v>
                </c:pt>
                <c:pt idx="1">
                  <c:v>7105.7</c:v>
                </c:pt>
                <c:pt idx="2">
                  <c:v>7110.9</c:v>
                </c:pt>
                <c:pt idx="3">
                  <c:v>7039.3</c:v>
                </c:pt>
                <c:pt idx="4">
                  <c:v>6080.5</c:v>
                </c:pt>
                <c:pt idx="5">
                  <c:v>6103</c:v>
                </c:pt>
                <c:pt idx="6">
                  <c:v>6881.4</c:v>
                </c:pt>
                <c:pt idx="7">
                  <c:v>7241.8</c:v>
                </c:pt>
                <c:pt idx="8">
                  <c:v>7287.6</c:v>
                </c:pt>
                <c:pt idx="9">
                  <c:v>7381.3</c:v>
                </c:pt>
                <c:pt idx="10">
                  <c:v>7014.4</c:v>
                </c:pt>
                <c:pt idx="11">
                  <c:v>6721.3</c:v>
                </c:pt>
                <c:pt idx="12">
                  <c:v>7034.2</c:v>
                </c:pt>
                <c:pt idx="13">
                  <c:v>7293.1</c:v>
                </c:pt>
                <c:pt idx="14">
                  <c:v>7039.6</c:v>
                </c:pt>
                <c:pt idx="15">
                  <c:v>7076.5</c:v>
                </c:pt>
                <c:pt idx="16">
                  <c:v>6409.6</c:v>
                </c:pt>
                <c:pt idx="17">
                  <c:v>6958.3</c:v>
                </c:pt>
                <c:pt idx="18">
                  <c:v>6986.5</c:v>
                </c:pt>
                <c:pt idx="19">
                  <c:v>7592.9</c:v>
                </c:pt>
                <c:pt idx="20">
                  <c:v>7683.3</c:v>
                </c:pt>
                <c:pt idx="21">
                  <c:v>7905.8</c:v>
                </c:pt>
                <c:pt idx="22">
                  <c:v>8856.6</c:v>
                </c:pt>
                <c:pt idx="23">
                  <c:v>9861.7999999999993</c:v>
                </c:pt>
                <c:pt idx="24">
                  <c:v>9984.2999999999993</c:v>
                </c:pt>
                <c:pt idx="25">
                  <c:v>10162.1</c:v>
                </c:pt>
                <c:pt idx="26">
                  <c:v>9229.6</c:v>
                </c:pt>
                <c:pt idx="27">
                  <c:v>9622.4</c:v>
                </c:pt>
                <c:pt idx="28">
                  <c:v>9598.4</c:v>
                </c:pt>
                <c:pt idx="29">
                  <c:v>10331.299999999999</c:v>
                </c:pt>
                <c:pt idx="30">
                  <c:v>12084.4</c:v>
                </c:pt>
                <c:pt idx="31">
                  <c:v>12357</c:v>
                </c:pt>
                <c:pt idx="32">
                  <c:v>14314.8</c:v>
                </c:pt>
                <c:pt idx="33">
                  <c:v>14584.7</c:v>
                </c:pt>
                <c:pt idx="34">
                  <c:v>14290.8</c:v>
                </c:pt>
                <c:pt idx="35">
                  <c:v>15536</c:v>
                </c:pt>
                <c:pt idx="36">
                  <c:v>16084.4</c:v>
                </c:pt>
                <c:pt idx="37">
                  <c:v>16889.599999999999</c:v>
                </c:pt>
                <c:pt idx="38">
                  <c:v>16765.099999999999</c:v>
                </c:pt>
                <c:pt idx="39">
                  <c:v>15952.1</c:v>
                </c:pt>
                <c:pt idx="40">
                  <c:v>16081.7</c:v>
                </c:pt>
                <c:pt idx="41">
                  <c:v>15894.2</c:v>
                </c:pt>
                <c:pt idx="42">
                  <c:v>15403.8</c:v>
                </c:pt>
                <c:pt idx="43">
                  <c:v>15081.4</c:v>
                </c:pt>
                <c:pt idx="44">
                  <c:v>14635.6</c:v>
                </c:pt>
                <c:pt idx="45">
                  <c:v>15326.2</c:v>
                </c:pt>
                <c:pt idx="46">
                  <c:v>16203.9</c:v>
                </c:pt>
                <c:pt idx="47">
                  <c:v>17700.7</c:v>
                </c:pt>
                <c:pt idx="48">
                  <c:v>17758.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D9-48DF-B9E2-392C6345A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187016"/>
        <c:axId val="372187408"/>
      </c:areaChart>
      <c:catAx>
        <c:axId val="372187016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82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721874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372187408"/>
        <c:scaling>
          <c:orientation val="minMax"/>
          <c:max val="2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72187016"/>
        <c:crosses val="autoZero"/>
        <c:crossBetween val="midCat"/>
        <c:majorUnit val="2000"/>
        <c:minorUnit val="1000"/>
      </c:valAx>
      <c:spPr>
        <a:noFill/>
        <a:ln w="11167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5583681758937358"/>
          <c:y val="0.24509898135690952"/>
          <c:w val="0.10993592557816156"/>
          <c:h val="0.5492774381989054"/>
        </c:manualLayout>
      </c:layout>
      <c:overlay val="0"/>
      <c:spPr>
        <a:solidFill>
          <a:schemeClr val="bg1"/>
        </a:solidFill>
        <a:ln w="2792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82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76860397454752E-2"/>
          <c:y val="6.3860381253934756E-2"/>
          <c:w val="0.89915957979696026"/>
          <c:h val="0.662598831611302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31</c:f>
              <c:strCache>
                <c:ptCount val="28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</c:strCache>
            </c:strRef>
          </c:cat>
          <c:val>
            <c:numRef>
              <c:f>Taul1!$B$4:$B$31</c:f>
              <c:numCache>
                <c:formatCode>General</c:formatCode>
                <c:ptCount val="28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  <c:pt idx="26">
                  <c:v>2200</c:v>
                </c:pt>
                <c:pt idx="27">
                  <c:v>10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616-AB7B-BA4A9C22802B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31</c:f>
              <c:strCache>
                <c:ptCount val="28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</c:strCache>
            </c:strRef>
          </c:cat>
          <c:val>
            <c:numRef>
              <c:f>Taul1!$C$4:$C$31</c:f>
              <c:numCache>
                <c:formatCode>#,##0</c:formatCode>
                <c:ptCount val="28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  <c:pt idx="26" formatCode="General">
                  <c:v>14000</c:v>
                </c:pt>
                <c:pt idx="27" formatCode="General">
                  <c:v>1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616-AB7B-BA4A9C228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Teknologiateollisuus                   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aul1!$A$2:$A$29</c:f>
              <c:strCache>
                <c:ptCount val="28"/>
                <c:pt idx="0">
                  <c:v>2015/1</c:v>
                </c:pt>
                <c:pt idx="1">
                  <c:v>2015/2</c:v>
                </c:pt>
                <c:pt idx="2">
                  <c:v>2015/3</c:v>
                </c:pt>
                <c:pt idx="3">
                  <c:v>2015/4</c:v>
                </c:pt>
                <c:pt idx="4">
                  <c:v>2016/1</c:v>
                </c:pt>
                <c:pt idx="5">
                  <c:v>2016/2</c:v>
                </c:pt>
                <c:pt idx="6">
                  <c:v>2016/3</c:v>
                </c:pt>
                <c:pt idx="7">
                  <c:v>2016/4</c:v>
                </c:pt>
                <c:pt idx="8">
                  <c:v>2017/1</c:v>
                </c:pt>
                <c:pt idx="9">
                  <c:v>2017/2</c:v>
                </c:pt>
                <c:pt idx="10">
                  <c:v>2017/3</c:v>
                </c:pt>
                <c:pt idx="11">
                  <c:v>2017/4</c:v>
                </c:pt>
                <c:pt idx="12">
                  <c:v>2018/1</c:v>
                </c:pt>
                <c:pt idx="13">
                  <c:v>2018/2</c:v>
                </c:pt>
                <c:pt idx="14">
                  <c:v>2018/3</c:v>
                </c:pt>
                <c:pt idx="15">
                  <c:v>2018/4</c:v>
                </c:pt>
                <c:pt idx="16">
                  <c:v>2019/1</c:v>
                </c:pt>
                <c:pt idx="17">
                  <c:v>2019/2</c:v>
                </c:pt>
                <c:pt idx="18">
                  <c:v>2019/3</c:v>
                </c:pt>
                <c:pt idx="19">
                  <c:v>2019/4</c:v>
                </c:pt>
                <c:pt idx="20">
                  <c:v>2020/1</c:v>
                </c:pt>
                <c:pt idx="21">
                  <c:v>2020/2</c:v>
                </c:pt>
                <c:pt idx="22">
                  <c:v>2020/3</c:v>
                </c:pt>
                <c:pt idx="23">
                  <c:v>2020/4</c:v>
                </c:pt>
                <c:pt idx="24">
                  <c:v>2021/1</c:v>
                </c:pt>
                <c:pt idx="25">
                  <c:v>2021/2</c:v>
                </c:pt>
                <c:pt idx="26">
                  <c:v>2021/3</c:v>
                </c:pt>
                <c:pt idx="27">
                  <c:v>2021/4</c:v>
                </c:pt>
              </c:strCache>
            </c:strRef>
          </c:cat>
          <c:val>
            <c:numRef>
              <c:f>Taul1!$B$2:$B$29</c:f>
              <c:numCache>
                <c:formatCode>0.0</c:formatCode>
                <c:ptCount val="28"/>
                <c:pt idx="0">
                  <c:v>8.0530000000000008</c:v>
                </c:pt>
                <c:pt idx="1">
                  <c:v>10.048</c:v>
                </c:pt>
                <c:pt idx="2">
                  <c:v>7.2290000000000001</c:v>
                </c:pt>
                <c:pt idx="3">
                  <c:v>6.8239999999999998</c:v>
                </c:pt>
                <c:pt idx="4">
                  <c:v>6.15</c:v>
                </c:pt>
                <c:pt idx="5">
                  <c:v>8.0630000000000006</c:v>
                </c:pt>
                <c:pt idx="6">
                  <c:v>12.039</c:v>
                </c:pt>
                <c:pt idx="7">
                  <c:v>9.3529999999999998</c:v>
                </c:pt>
                <c:pt idx="8">
                  <c:v>15.788</c:v>
                </c:pt>
                <c:pt idx="9">
                  <c:v>17.940999999999999</c:v>
                </c:pt>
                <c:pt idx="10">
                  <c:v>23.209</c:v>
                </c:pt>
                <c:pt idx="11">
                  <c:v>22.655000000000001</c:v>
                </c:pt>
                <c:pt idx="12">
                  <c:v>22.227</c:v>
                </c:pt>
                <c:pt idx="13">
                  <c:v>30.227</c:v>
                </c:pt>
                <c:pt idx="14">
                  <c:v>35.164000000000001</c:v>
                </c:pt>
                <c:pt idx="15">
                  <c:v>21.96</c:v>
                </c:pt>
                <c:pt idx="16">
                  <c:v>26.867000000000001</c:v>
                </c:pt>
                <c:pt idx="17">
                  <c:v>27.954999999999998</c:v>
                </c:pt>
                <c:pt idx="18">
                  <c:v>20</c:v>
                </c:pt>
                <c:pt idx="19">
                  <c:v>19</c:v>
                </c:pt>
                <c:pt idx="20">
                  <c:v>6</c:v>
                </c:pt>
                <c:pt idx="21">
                  <c:v>10</c:v>
                </c:pt>
                <c:pt idx="22">
                  <c:v>13</c:v>
                </c:pt>
                <c:pt idx="23">
                  <c:v>8</c:v>
                </c:pt>
                <c:pt idx="24">
                  <c:v>22</c:v>
                </c:pt>
                <c:pt idx="25">
                  <c:v>20</c:v>
                </c:pt>
                <c:pt idx="26">
                  <c:v>32</c:v>
                </c:pt>
                <c:pt idx="27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01B-4F74-A68F-D1810FE2D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3995392"/>
        <c:axId val="363989488"/>
      </c:lineChart>
      <c:catAx>
        <c:axId val="363995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3989488"/>
        <c:crosses val="autoZero"/>
        <c:auto val="1"/>
        <c:lblAlgn val="ctr"/>
        <c:lblOffset val="100"/>
        <c:noMultiLvlLbl val="0"/>
      </c:catAx>
      <c:valAx>
        <c:axId val="363989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3995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rgbClr val="000000"/>
          </a:solidFill>
        </a:defRPr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97024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8575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5125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7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29" Type="http://schemas.openxmlformats.org/officeDocument/2006/relationships/image" Target="../media/image30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5" Type="http://schemas.openxmlformats.org/officeDocument/2006/relationships/oleObject" Target="../embeddings/oleObject7.bin"/><Relationship Id="rId19" Type="http://schemas.openxmlformats.org/officeDocument/2006/relationships/image" Target="../media/image20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tags" Target="../tags/tag13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emf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67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2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5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6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3.2.2022</a:t>
            </a:r>
          </a:p>
          <a:p>
            <a:endParaRPr lang="fi-FI" dirty="0"/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2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loka-joulu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1 / IV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1 / I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9841645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2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loka-joulu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1 / IV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1 / I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5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2688794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Kone- ja metallituoteteollisuuden tilauskanta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2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570154" cy="24181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31.12.2021.</a:t>
            </a:r>
          </a:p>
        </p:txBody>
      </p:sp>
      <p:graphicFrame>
        <p:nvGraphicFramePr>
          <p:cNvPr id="8" name="Object 3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79512" y="1016527"/>
          <a:ext cx="8856984" cy="2851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990389" y="1095112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11" name="Taulukko 10"/>
          <p:cNvGraphicFramePr>
            <a:graphicFrameLocks noGrp="1"/>
          </p:cNvGraphicFramePr>
          <p:nvPr/>
        </p:nvGraphicFramePr>
        <p:xfrm>
          <a:off x="3470383" y="3923754"/>
          <a:ext cx="3835454" cy="803820"/>
        </p:xfrm>
        <a:graphic>
          <a:graphicData uri="http://schemas.openxmlformats.org/drawingml/2006/table">
            <a:tbl>
              <a:tblPr/>
              <a:tblGrid>
                <a:gridCol w="829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0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1.12.2021 / 31.12.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1.12.2021 / 30.9.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516030" y="1113179"/>
            <a:ext cx="972015" cy="244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1897" tIns="40949" rIns="81897" bIns="4094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 marL="1370013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Yhteensä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25A6EAF7-AEEF-4B6F-87C7-B2CE2CAC0083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25592"/>
          <a:ext cx="6840762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707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07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0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07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07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07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933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69331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69331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69331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69331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69331">
                  <a:extLst>
                    <a:ext uri="{9D8B030D-6E8A-4147-A177-3AD203B41FA5}">
                      <a16:colId xmlns:a16="http://schemas.microsoft.com/office/drawing/2014/main" val="1792385291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0752808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848392" cy="648000"/>
          </a:xfrm>
        </p:spPr>
        <p:txBody>
          <a:bodyPr/>
          <a:lstStyle/>
          <a:p>
            <a:r>
              <a:rPr lang="fi-FI" dirty="0"/>
              <a:t>Teknologiateollisuuden henkilöstömäärä Suomessa edelleen kasvu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3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E0EB4AEC-EC50-4F67-BEB1-A8415E3A7B3A}"/>
              </a:ext>
            </a:extLst>
          </p:cNvPr>
          <p:cNvGraphicFramePr>
            <a:graphicFrameLocks/>
          </p:cNvGraphicFramePr>
          <p:nvPr/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00762062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C486607F-08B3-4B40-9AF2-6A8647D99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1520" y="174475"/>
            <a:ext cx="7992000" cy="844456"/>
          </a:xfrm>
        </p:spPr>
        <p:txBody>
          <a:bodyPr/>
          <a:lstStyle/>
          <a:p>
            <a:r>
              <a:rPr lang="fi-FI" dirty="0"/>
              <a:t>Jos suhdanne jatkuu suotuisana, uhkaa kasvu kuitenkin tyssätä osaajapulaa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8DC3C09-0592-48B2-A6D1-AD7E19799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3C3213D-B392-4A52-9D51-5FD4B122E0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C775CB7-EF25-48AF-A269-3CAF47252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C93446B-2175-4B03-B269-92ED938153CD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5E225076-6AA2-47D7-A1E9-BCC1C234A8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Mukana teknologiateollisuuden teolliset toimialat</a:t>
            </a:r>
          </a:p>
          <a:p>
            <a:r>
              <a:rPr lang="fi-FI" dirty="0"/>
              <a:t>Lähde: </a:t>
            </a:r>
            <a:r>
              <a:rPr lang="fi-FI" dirty="0" err="1"/>
              <a:t>EK:n</a:t>
            </a:r>
            <a:r>
              <a:rPr lang="fi-FI" dirty="0"/>
              <a:t> suhdannebarometri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74191462-68DD-47B5-AB36-FAF948B19F0C}"/>
              </a:ext>
            </a:extLst>
          </p:cNvPr>
          <p:cNvSpPr txBox="1"/>
          <p:nvPr/>
        </p:nvSpPr>
        <p:spPr>
          <a:xfrm>
            <a:off x="827584" y="1020291"/>
            <a:ext cx="554461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Prosenttia vastaajista raportoi ammattitaitoisen työvoiman puutteen kasvun esteeksi.</a:t>
            </a:r>
          </a:p>
        </p:txBody>
      </p:sp>
    </p:spTree>
    <p:extLst>
      <p:ext uri="{BB962C8B-B14F-4D97-AF65-F5344CB8AC3E}">
        <p14:creationId xmlns:p14="http://schemas.microsoft.com/office/powerpoint/2010/main" val="3230635757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886427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Ilman riskien realisoitumista suomalaisen teknologiateollisuuden näkymä alkuvuoteen on hyv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eknologiateollisuuden kysyntätilanne jatkui hyvän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Vuoden viimeisen neljänneksen tilauskertymä erinomainen. Uusien tilausten arvo kasvoi 40 % edelliseen neljännekseen verrattuna. Vuoden takaiseen verrattuna kasvua 4 %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Riskit kuitenkin suuret: inflaatio – koronnostot, korona – toimitusketjuhaasteet / kustannushuolet, geopolitiikka – pakotteet, talouden kasvukyky elvytyksen vähentyessä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uotantoa rasittaa edelleen pula raaka-aineista, komponenteista ja välituotteist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Heikkoja signaaleja tilanteen vähittäisestä helpottumisesta kuitenkin havaittaviss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Tuotantokustannukset edelleen korkealla, voi rasittaa kannattavuut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Vaikka suhdanne jatkuisi suotuisana, kasvu voi tyssätä osaajapulaa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Mikäli taloustilanne kehittyy nykyisten ennusteiden mukaisesti, kustannuskilpailukyky ei arvioiden mukaan heikkene kuluvana vuonna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6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</a:t>
            </a:r>
            <a:r>
              <a:rPr lang="fi-FI" dirty="0" err="1"/>
              <a:t>Macrobond</a:t>
            </a:r>
            <a:r>
              <a:rPr lang="fi-FI" dirty="0"/>
              <a:t>, </a:t>
            </a:r>
            <a:r>
              <a:rPr lang="fi-FI" dirty="0" err="1"/>
              <a:t>Eurostat</a:t>
            </a:r>
            <a:endParaRPr lang="fi-FI" dirty="0"/>
          </a:p>
          <a:p>
            <a:endParaRPr lang="fi-FI" dirty="0"/>
          </a:p>
        </p:txBody>
      </p:sp>
      <p:sp>
        <p:nvSpPr>
          <p:cNvPr id="10" name="Tekstin paikkamerkki 7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013658" cy="714795"/>
          </a:xfrm>
        </p:spPr>
        <p:txBody>
          <a:bodyPr/>
          <a:lstStyle/>
          <a:p>
            <a:r>
              <a:rPr lang="fi-FI" spc="-50" dirty="0"/>
              <a:t>Yritysten investointiaste on Suomessa selvästi alempi kuin keskeisissä kilpailijamaissa</a:t>
            </a:r>
            <a:endParaRPr lang="fi-FI" dirty="0"/>
          </a:p>
        </p:txBody>
      </p:sp>
      <p:graphicFrame>
        <p:nvGraphicFramePr>
          <p:cNvPr id="12" name="Sisällön paikkamerkki 11">
            <a:extLst>
              <a:ext uri="{FF2B5EF4-FFF2-40B4-BE49-F238E27FC236}">
                <a16:creationId xmlns:a16="http://schemas.microsoft.com/office/drawing/2014/main" id="{73BA24CA-1C45-4A70-B135-FF31C36C423F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282926418"/>
              </p:ext>
            </p:extLst>
          </p:nvPr>
        </p:nvGraphicFramePr>
        <p:xfrm>
          <a:off x="383718" y="1081327"/>
          <a:ext cx="8386088" cy="35636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2" name="Sisällön paikkamerkki 11">
                        <a:extLst>
                          <a:ext uri="{FF2B5EF4-FFF2-40B4-BE49-F238E27FC236}">
                            <a16:creationId xmlns:a16="http://schemas.microsoft.com/office/drawing/2014/main" id="{73BA24CA-1C45-4A70-B135-FF31C36C4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081327"/>
                        <a:ext cx="8386088" cy="35636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3129897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810" y="123478"/>
            <a:ext cx="7440754" cy="4388545"/>
          </a:xfrm>
        </p:spPr>
        <p:txBody>
          <a:bodyPr>
            <a:noAutofit/>
          </a:bodyPr>
          <a:lstStyle/>
          <a:p>
            <a:r>
              <a:rPr lang="fi-FI" sz="2000" dirty="0"/>
              <a:t>Kasvu hidastui odotusten mukaisesti Euroopassa vuodenvaihteessa – Jos riskit eivät realisoidu, alkuvuosi vaikuttaa lupaavalta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Euroopan vuodenvaihteen kasvunotkahduksen taustalla omikron ja sen vaikutukset palvelusektoriin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600" dirty="0"/>
          </a:p>
          <a:p>
            <a:pPr marL="2965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Teollisuudessa tilanne jatkunut vahvana omikronista huolimatta.</a:t>
            </a:r>
          </a:p>
          <a:p>
            <a:pPr marL="600615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/>
                </a:solidFill>
              </a:rPr>
              <a:t>Toimitusketjuhaasteet vaivaavat edelleen laajasti, mutta heikkoja signaaleita tilanteen mahdollisesta helpottamisesta on nähtävissä.</a:t>
            </a:r>
          </a:p>
          <a:p>
            <a:pPr marL="2965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2965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Perusnäkymä alkuvuoteen on hyvä. Riskit kuitenkin suuret: inflaatio – koronnostot, korona – toimitusketjuhaasteet / kustannushuolet, talouden kasvukyky elvytyksen vähentyessä…</a:t>
            </a:r>
          </a:p>
          <a:p>
            <a:pPr>
              <a:lnSpc>
                <a:spcPct val="100000"/>
              </a:lnSpc>
            </a:pPr>
            <a:endParaRPr lang="fi-FI" sz="1600" dirty="0"/>
          </a:p>
          <a:p>
            <a:pPr marL="2965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bg1"/>
                </a:solidFill>
              </a:rPr>
              <a:t>Geopoliittiset riskit </a:t>
            </a:r>
            <a:r>
              <a:rPr lang="fi-FI" sz="1600" dirty="0"/>
              <a:t>erittäin merkittävät</a:t>
            </a:r>
            <a:endParaRPr lang="fi-FI" sz="1600" dirty="0">
              <a:solidFill>
                <a:schemeClr val="bg1"/>
              </a:solidFill>
            </a:endParaRP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Euroalueella toipuminen hidastunut vuoden-vaihteessa, taustalla palvelusektorin vaikeudet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110270260"/>
              </p:ext>
            </p:extLst>
          </p:nvPr>
        </p:nvGraphicFramePr>
        <p:xfrm>
          <a:off x="392113" y="1114425"/>
          <a:ext cx="8316912" cy="3513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2113" y="1114425"/>
                        <a:ext cx="8316912" cy="3513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5577217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Teollisuuden vahva veto jatkuu omikronista huolimat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118618254"/>
              </p:ext>
            </p:extLst>
          </p:nvPr>
        </p:nvGraphicFramePr>
        <p:xfrm>
          <a:off x="384175" y="1111250"/>
          <a:ext cx="8334375" cy="351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4175" y="1111250"/>
                        <a:ext cx="8334375" cy="3519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694340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CPB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284047083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3" name="Tekstin paikkamerkki 12">
            <a:extLst>
              <a:ext uri="{FF2B5EF4-FFF2-40B4-BE49-F238E27FC236}">
                <a16:creationId xmlns:a16="http://schemas.microsoft.com/office/drawing/2014/main" id="{7E75BD30-45EA-416E-8741-70B2B99111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oimitusketjuhaasteet haittaavat edelleen teollisuutta laajasti</a:t>
            </a:r>
          </a:p>
        </p:txBody>
      </p:sp>
    </p:spTree>
    <p:extLst>
      <p:ext uri="{BB962C8B-B14F-4D97-AF65-F5344CB8AC3E}">
        <p14:creationId xmlns:p14="http://schemas.microsoft.com/office/powerpoint/2010/main" val="338336164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uottajahintojen kehitys Suomen teknologiateollisuud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</a:t>
            </a:r>
            <a:r>
              <a:rPr lang="fi-FI" dirty="0" err="1"/>
              <a:t>Macrobond</a:t>
            </a:r>
            <a:r>
              <a:rPr lang="fi-FI" dirty="0"/>
              <a:t>, Tilastokeskus</a:t>
            </a:r>
          </a:p>
        </p:txBody>
      </p:sp>
      <p:graphicFrame>
        <p:nvGraphicFramePr>
          <p:cNvPr id="15" name="Sisällön paikkamerkki 14">
            <a:extLst>
              <a:ext uri="{FF2B5EF4-FFF2-40B4-BE49-F238E27FC236}">
                <a16:creationId xmlns:a16="http://schemas.microsoft.com/office/drawing/2014/main" id="{700487CA-A246-4A6D-AFFF-F0216AAC0A9A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675139808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15" name="Sisällön paikkamerkki 14">
                        <a:extLst>
                          <a:ext uri="{FF2B5EF4-FFF2-40B4-BE49-F238E27FC236}">
                            <a16:creationId xmlns:a16="http://schemas.microsoft.com/office/drawing/2014/main" id="{700487CA-A246-4A6D-AFFF-F0216AAC0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247939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4103" y="435100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Alkuvuosi vaikuttaa lupaavalta suomalaiselle teknologiateollisuudelle</a:t>
            </a:r>
          </a:p>
          <a:p>
            <a:pPr>
              <a:lnSpc>
                <a:spcPct val="100000"/>
              </a:lnSpc>
            </a:pPr>
            <a:endParaRPr lang="fi-FI" sz="2000" dirty="0"/>
          </a:p>
          <a:p>
            <a:pPr>
              <a:lnSpc>
                <a:spcPct val="100000"/>
              </a:lnSpc>
            </a:pPr>
            <a:endParaRPr lang="fi-FI" sz="20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Viime vuoden viimeisen vuosineljänneksen tilauskertymän arvo oli erinomainen – tilauskertymä kasvoi peräti 40 prosenttia edelliseen neljännekseen verrattuna. Vuodentakaiseen nähden kasvua 4 %.</a:t>
            </a:r>
          </a:p>
          <a:p>
            <a:pPr lvl="1">
              <a:lnSpc>
                <a:spcPct val="100000"/>
              </a:lnSpc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bg1"/>
                </a:solidFill>
              </a:rPr>
              <a:t>Haasteet komponenttien, raaka-aineiden ja välituotteiden saatavuudessa jatkuvat alkuvuoden ajan, mutta helpotusta mahdollisesti luvassa. Tuotantokustannukset edelleen korkealla tasolla ja rasittavat kannattavuutta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Kysyntätilanne markkinoilla jatkui hyvänä – tarjouspyyntöjä liikkeellä runsaasti.</a:t>
            </a:r>
          </a:p>
          <a:p>
            <a:pPr>
              <a:lnSpc>
                <a:spcPct val="100000"/>
              </a:lnSpc>
            </a:pPr>
            <a:endParaRPr lang="fi-FI" sz="18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.2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ollisuuden ja 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8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2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116547" cy="165163"/>
          </a:xfrm>
        </p:spPr>
        <p:txBody>
          <a:bodyPr/>
          <a:lstStyle/>
          <a:p>
            <a:r>
              <a:rPr lang="fi-FI"/>
              <a:t>Kausipuhdistetut teollisuuden ja palveluiden liikevaihtokuvaajat</a:t>
            </a:r>
          </a:p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Tilastokeskus</a:t>
            </a:r>
          </a:p>
          <a:p>
            <a:endParaRPr lang="fi-FI"/>
          </a:p>
        </p:txBody>
      </p:sp>
      <p:graphicFrame>
        <p:nvGraphicFramePr>
          <p:cNvPr id="9" name="Sisällön paikkamerkki 8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426543777"/>
              </p:ext>
            </p:extLst>
          </p:nvPr>
        </p:nvGraphicFramePr>
        <p:xfrm>
          <a:off x="392113" y="1106488"/>
          <a:ext cx="8369300" cy="3535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92113" y="1106488"/>
                        <a:ext cx="8369300" cy="35353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484914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9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2.2.2022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: tammikuu 2022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</a:t>
            </a:r>
            <a:r>
              <a:rPr lang="fi-FI" sz="800"/>
              <a:t>Positiivinen saldoluku viittaa kysynnän parantumiseen kolme kuukautta sitten vallinneeseen tilanteeseen nähden.</a:t>
            </a:r>
            <a:endParaRPr lang="fi-FI" sz="800"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4" y="2449415"/>
          <a:ext cx="786407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05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99984933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78131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742</TotalTime>
  <Words>758</Words>
  <Application>Microsoft Office PowerPoint</Application>
  <PresentationFormat>Näytössä katseltava esitys (16:9)</PresentationFormat>
  <Paragraphs>221</Paragraphs>
  <Slides>16</Slides>
  <Notes>8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6</vt:i4>
      </vt:variant>
    </vt:vector>
  </HeadingPairs>
  <TitlesOfParts>
    <vt:vector size="24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Rautaporras Petteri</cp:lastModifiedBy>
  <cp:revision>129</cp:revision>
  <cp:lastPrinted>2020-08-06T06:12:28Z</cp:lastPrinted>
  <dcterms:created xsi:type="dcterms:W3CDTF">2019-10-17T09:08:24Z</dcterms:created>
  <dcterms:modified xsi:type="dcterms:W3CDTF">2022-02-02T11:3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